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5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6.xml" ContentType="application/vnd.openxmlformats-officedocument.theme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7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9.xml" ContentType="application/vnd.openxmlformats-officedocument.theme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10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11.xml" ContentType="application/vnd.openxmlformats-officedocument.theme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theme/theme12.xml" ContentType="application/vnd.openxmlformats-officedocument.theme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theme/theme13.xml" ContentType="application/vnd.openxmlformats-officedocument.theme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theme/theme1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theme/theme15.xml" ContentType="application/vnd.openxmlformats-officedocument.theme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theme/theme16.xml" ContentType="application/vnd.openxmlformats-officedocument.theme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theme/theme1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8" r:id="rId5"/>
    <p:sldMasterId id="2147483732" r:id="rId6"/>
    <p:sldMasterId id="2147483765" r:id="rId7"/>
    <p:sldMasterId id="2147483795" r:id="rId8"/>
    <p:sldMasterId id="2147483837" r:id="rId9"/>
    <p:sldMasterId id="2147483849" r:id="rId10"/>
    <p:sldMasterId id="2147483912" r:id="rId11"/>
    <p:sldMasterId id="2147483941" r:id="rId12"/>
    <p:sldMasterId id="2147483953" r:id="rId13"/>
    <p:sldMasterId id="2147483982" r:id="rId14"/>
    <p:sldMasterId id="2147484011" r:id="rId15"/>
    <p:sldMasterId id="2147484040" r:id="rId16"/>
    <p:sldMasterId id="2147484069" r:id="rId17"/>
    <p:sldMasterId id="2147484179" r:id="rId18"/>
    <p:sldMasterId id="2147484191" r:id="rId19"/>
    <p:sldMasterId id="2147484225" r:id="rId20"/>
  </p:sldMasterIdLst>
  <p:notesMasterIdLst>
    <p:notesMasterId r:id="rId50"/>
  </p:notesMasterIdLst>
  <p:handoutMasterIdLst>
    <p:handoutMasterId r:id="rId51"/>
  </p:handoutMasterIdLst>
  <p:sldIdLst>
    <p:sldId id="319" r:id="rId21"/>
    <p:sldId id="364" r:id="rId22"/>
    <p:sldId id="348" r:id="rId23"/>
    <p:sldId id="352" r:id="rId24"/>
    <p:sldId id="351" r:id="rId25"/>
    <p:sldId id="349" r:id="rId26"/>
    <p:sldId id="350" r:id="rId27"/>
    <p:sldId id="362" r:id="rId28"/>
    <p:sldId id="353" r:id="rId29"/>
    <p:sldId id="269" r:id="rId30"/>
    <p:sldId id="365" r:id="rId31"/>
    <p:sldId id="376" r:id="rId32"/>
    <p:sldId id="382" r:id="rId33"/>
    <p:sldId id="367" r:id="rId34"/>
    <p:sldId id="368" r:id="rId35"/>
    <p:sldId id="369" r:id="rId36"/>
    <p:sldId id="377" r:id="rId37"/>
    <p:sldId id="370" r:id="rId38"/>
    <p:sldId id="374" r:id="rId39"/>
    <p:sldId id="375" r:id="rId40"/>
    <p:sldId id="372" r:id="rId41"/>
    <p:sldId id="380" r:id="rId42"/>
    <p:sldId id="381" r:id="rId43"/>
    <p:sldId id="373" r:id="rId44"/>
    <p:sldId id="378" r:id="rId45"/>
    <p:sldId id="379" r:id="rId46"/>
    <p:sldId id="317" r:id="rId47"/>
    <p:sldId id="298" r:id="rId48"/>
    <p:sldId id="361" r:id="rId4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1C22"/>
    <a:srgbClr val="DE0000"/>
    <a:srgbClr val="5D5B55"/>
    <a:srgbClr val="E16C81"/>
    <a:srgbClr val="D48311"/>
    <a:srgbClr val="F4BD71"/>
    <a:srgbClr val="EC9113"/>
    <a:srgbClr val="54C7A8"/>
    <a:srgbClr val="398E6A"/>
    <a:srgbClr val="C654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786" autoAdjust="0"/>
    <p:restoredTop sz="79221" autoAdjust="0"/>
  </p:normalViewPr>
  <p:slideViewPr>
    <p:cSldViewPr snapToGrid="0" snapToObjects="1">
      <p:cViewPr varScale="1">
        <p:scale>
          <a:sx n="69" d="100"/>
          <a:sy n="69" d="100"/>
        </p:scale>
        <p:origin x="72" y="4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slide" Target="slides/slide27.xml"/><Relationship Id="rId50" Type="http://schemas.openxmlformats.org/officeDocument/2006/relationships/notesMaster" Target="notesMasters/notesMaster1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9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slide" Target="slides/slide28.xml"/><Relationship Id="rId56" Type="http://schemas.microsoft.com/office/2015/10/relationships/revisionInfo" Target="revisionInfo.xml"/><Relationship Id="rId8" Type="http://schemas.openxmlformats.org/officeDocument/2006/relationships/slideMaster" Target="slideMasters/slideMaster5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slide" Target="slides/slide26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21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slide" Target="slides/slide2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trifono\Desktop\PQDT%20Global%20Federal%20Level%202015\Russian%20PQDT%20usage%20APR16-SEP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FT</a:t>
            </a:r>
            <a:r>
              <a:rPr lang="en-US" baseline="0"/>
              <a:t> &amp; A&amp;I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Monthly usage'!$C$1</c:f>
              <c:strCache>
                <c:ptCount val="1"/>
                <c:pt idx="0">
                  <c:v>Full Text Articl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Monthly usage'!$A$2:$A$19</c:f>
              <c:numCache>
                <c:formatCode>mmm\-yy</c:formatCode>
                <c:ptCount val="18"/>
                <c:pt idx="0">
                  <c:v>42461</c:v>
                </c:pt>
                <c:pt idx="1">
                  <c:v>42491</c:v>
                </c:pt>
                <c:pt idx="2">
                  <c:v>42522</c:v>
                </c:pt>
                <c:pt idx="3">
                  <c:v>42552</c:v>
                </c:pt>
                <c:pt idx="4">
                  <c:v>42583</c:v>
                </c:pt>
                <c:pt idx="5">
                  <c:v>42614</c:v>
                </c:pt>
                <c:pt idx="6">
                  <c:v>42644</c:v>
                </c:pt>
                <c:pt idx="7">
                  <c:v>42675</c:v>
                </c:pt>
                <c:pt idx="8">
                  <c:v>42705</c:v>
                </c:pt>
                <c:pt idx="9">
                  <c:v>42736</c:v>
                </c:pt>
                <c:pt idx="10">
                  <c:v>42767</c:v>
                </c:pt>
                <c:pt idx="11">
                  <c:v>42795</c:v>
                </c:pt>
                <c:pt idx="12">
                  <c:v>42826</c:v>
                </c:pt>
                <c:pt idx="13">
                  <c:v>42856</c:v>
                </c:pt>
                <c:pt idx="14">
                  <c:v>42887</c:v>
                </c:pt>
                <c:pt idx="15">
                  <c:v>42917</c:v>
                </c:pt>
                <c:pt idx="16">
                  <c:v>42948</c:v>
                </c:pt>
                <c:pt idx="17">
                  <c:v>42979</c:v>
                </c:pt>
              </c:numCache>
            </c:numRef>
          </c:cat>
          <c:val>
            <c:numRef>
              <c:f>'Monthly usage'!$C$2:$C$19</c:f>
              <c:numCache>
                <c:formatCode>_(* #,##0_);_(* \(#,##0\);_(* "-"??_);_(@_)</c:formatCode>
                <c:ptCount val="18"/>
                <c:pt idx="0">
                  <c:v>2204</c:v>
                </c:pt>
                <c:pt idx="1">
                  <c:v>2579</c:v>
                </c:pt>
                <c:pt idx="2">
                  <c:v>2529</c:v>
                </c:pt>
                <c:pt idx="3">
                  <c:v>1589</c:v>
                </c:pt>
                <c:pt idx="4">
                  <c:v>2631</c:v>
                </c:pt>
                <c:pt idx="5">
                  <c:v>2419</c:v>
                </c:pt>
                <c:pt idx="6">
                  <c:v>3753</c:v>
                </c:pt>
                <c:pt idx="7">
                  <c:v>2571</c:v>
                </c:pt>
                <c:pt idx="8">
                  <c:v>2801</c:v>
                </c:pt>
                <c:pt idx="9">
                  <c:v>2010</c:v>
                </c:pt>
                <c:pt idx="10">
                  <c:v>2080</c:v>
                </c:pt>
                <c:pt idx="11">
                  <c:v>3594</c:v>
                </c:pt>
                <c:pt idx="12">
                  <c:v>5478</c:v>
                </c:pt>
                <c:pt idx="13">
                  <c:v>3781</c:v>
                </c:pt>
                <c:pt idx="14">
                  <c:v>3774</c:v>
                </c:pt>
                <c:pt idx="15">
                  <c:v>3824</c:v>
                </c:pt>
                <c:pt idx="16">
                  <c:v>1740</c:v>
                </c:pt>
                <c:pt idx="17">
                  <c:v>10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BA-4826-A724-163ECB7023DD}"/>
            </c:ext>
          </c:extLst>
        </c:ser>
        <c:ser>
          <c:idx val="1"/>
          <c:order val="1"/>
          <c:tx>
            <c:strRef>
              <c:f>'Monthly usage'!$D$1</c:f>
              <c:strCache>
                <c:ptCount val="1"/>
                <c:pt idx="0">
                  <c:v>Abstracts &amp; Citation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Monthly usage'!$A$2:$A$19</c:f>
              <c:numCache>
                <c:formatCode>mmm\-yy</c:formatCode>
                <c:ptCount val="18"/>
                <c:pt idx="0">
                  <c:v>42461</c:v>
                </c:pt>
                <c:pt idx="1">
                  <c:v>42491</c:v>
                </c:pt>
                <c:pt idx="2">
                  <c:v>42522</c:v>
                </c:pt>
                <c:pt idx="3">
                  <c:v>42552</c:v>
                </c:pt>
                <c:pt idx="4">
                  <c:v>42583</c:v>
                </c:pt>
                <c:pt idx="5">
                  <c:v>42614</c:v>
                </c:pt>
                <c:pt idx="6">
                  <c:v>42644</c:v>
                </c:pt>
                <c:pt idx="7">
                  <c:v>42675</c:v>
                </c:pt>
                <c:pt idx="8">
                  <c:v>42705</c:v>
                </c:pt>
                <c:pt idx="9">
                  <c:v>42736</c:v>
                </c:pt>
                <c:pt idx="10">
                  <c:v>42767</c:v>
                </c:pt>
                <c:pt idx="11">
                  <c:v>42795</c:v>
                </c:pt>
                <c:pt idx="12">
                  <c:v>42826</c:v>
                </c:pt>
                <c:pt idx="13">
                  <c:v>42856</c:v>
                </c:pt>
                <c:pt idx="14">
                  <c:v>42887</c:v>
                </c:pt>
                <c:pt idx="15">
                  <c:v>42917</c:v>
                </c:pt>
                <c:pt idx="16">
                  <c:v>42948</c:v>
                </c:pt>
                <c:pt idx="17">
                  <c:v>42979</c:v>
                </c:pt>
              </c:numCache>
            </c:numRef>
          </c:cat>
          <c:val>
            <c:numRef>
              <c:f>'Monthly usage'!$D$2:$D$19</c:f>
              <c:numCache>
                <c:formatCode>_(* #,##0_);_(* \(#,##0\);_(* "-"??_);_(@_)</c:formatCode>
                <c:ptCount val="18"/>
                <c:pt idx="0">
                  <c:v>351</c:v>
                </c:pt>
                <c:pt idx="1">
                  <c:v>2208</c:v>
                </c:pt>
                <c:pt idx="2">
                  <c:v>372</c:v>
                </c:pt>
                <c:pt idx="3">
                  <c:v>872</c:v>
                </c:pt>
                <c:pt idx="4">
                  <c:v>574</c:v>
                </c:pt>
                <c:pt idx="5">
                  <c:v>341</c:v>
                </c:pt>
                <c:pt idx="6">
                  <c:v>881</c:v>
                </c:pt>
                <c:pt idx="7">
                  <c:v>641</c:v>
                </c:pt>
                <c:pt idx="8">
                  <c:v>819</c:v>
                </c:pt>
                <c:pt idx="9">
                  <c:v>484</c:v>
                </c:pt>
                <c:pt idx="10">
                  <c:v>711</c:v>
                </c:pt>
                <c:pt idx="11">
                  <c:v>2065</c:v>
                </c:pt>
                <c:pt idx="12">
                  <c:v>1861</c:v>
                </c:pt>
                <c:pt idx="13">
                  <c:v>1628</c:v>
                </c:pt>
                <c:pt idx="14">
                  <c:v>1766</c:v>
                </c:pt>
                <c:pt idx="15">
                  <c:v>1091</c:v>
                </c:pt>
                <c:pt idx="16">
                  <c:v>382</c:v>
                </c:pt>
                <c:pt idx="17">
                  <c:v>4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BA-4826-A724-163ECB7023D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181707520"/>
        <c:axId val="181709056"/>
      </c:barChart>
      <c:dateAx>
        <c:axId val="181707520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1709056"/>
        <c:crosses val="autoZero"/>
        <c:auto val="1"/>
        <c:lblOffset val="100"/>
        <c:baseTimeUnit val="months"/>
      </c:dateAx>
      <c:valAx>
        <c:axId val="181709056"/>
        <c:scaling>
          <c:orientation val="minMax"/>
        </c:scaling>
        <c:delete val="1"/>
        <c:axPos val="l"/>
        <c:numFmt formatCode="_(* #,##0_);_(* \(#,##0\);_(* &quot;-&quot;??_);_(@_)" sourceLinked="1"/>
        <c:majorTickMark val="none"/>
        <c:minorTickMark val="none"/>
        <c:tickLblPos val="none"/>
        <c:crossAx val="181707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504CD9-3755-6E48-97BE-F4AD583A5D47}" type="datetimeFigureOut">
              <a:rPr lang="en-US" smtClean="0"/>
              <a:pPr/>
              <a:t>12/14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835369-C703-9D42-AC58-02EB9F5196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E02281-DDB9-A14E-8924-E648B5F33BFB}" type="datetimeFigureOut">
              <a:rPr lang="en-US" smtClean="0"/>
              <a:pPr/>
              <a:t>12/14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313A2F-4F44-6A43-962F-0DFD3FDCC13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243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95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16691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09" indent="-28573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937" indent="-228587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112" indent="-228587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287" indent="-228587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461" indent="-228587" defTabSz="457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635" indent="-228587" defTabSz="457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810" indent="-228587" defTabSz="457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985" indent="-228587" defTabSz="4571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0" hangingPunct="0">
              <a:defRPr/>
            </a:pPr>
            <a:fld id="{6DBC9321-2DE4-46FE-AB9A-CD97327E7CF6}" type="slidenum">
              <a:rPr lang="en-US" altLang="en-US" smtClean="0">
                <a:solidFill>
                  <a:srgbClr val="000000"/>
                </a:solidFill>
                <a:ea typeface="ＭＳ Ｐゴシック" pitchFamily="34" charset="-128"/>
              </a:rPr>
              <a:pPr eaLnBrk="0" hangingPunct="0">
                <a:defRPr/>
              </a:pPr>
              <a:t>2</a:t>
            </a:fld>
            <a:endParaRPr lang="en-US" altLang="en-US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72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83300" cy="3422650"/>
          </a:xfrm>
          <a:ln/>
        </p:spPr>
      </p:sp>
      <p:sp>
        <p:nvSpPr>
          <p:cNvPr id="137728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mtClean="0"/>
              <a:t>Пример: инструкция для авторов, как подготовить рукопись</a:t>
            </a:r>
          </a:p>
        </p:txBody>
      </p:sp>
      <p:sp>
        <p:nvSpPr>
          <p:cNvPr id="1377284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EE68E77-660E-4150-94B4-370399C6D0A5}" type="slidenum">
              <a:rPr lang="en-US" altLang="ru-RU">
                <a:solidFill>
                  <a:srgbClr val="FFFFFF"/>
                </a:solidFill>
              </a:rPr>
              <a:pPr/>
              <a:t>15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83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83300" cy="3422650"/>
          </a:xfrm>
          <a:ln/>
        </p:spPr>
      </p:sp>
      <p:sp>
        <p:nvSpPr>
          <p:cNvPr id="13783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mtClean="0"/>
              <a:t>Так выглядит инструкция – Руководство для авторов. Требования к реферату, к оформлению изображений, ссылок, сносок и т.д.</a:t>
            </a:r>
          </a:p>
        </p:txBody>
      </p:sp>
      <p:sp>
        <p:nvSpPr>
          <p:cNvPr id="1378308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DCF41F6-3DB6-4125-9B0A-BA9E4135A0C4}" type="slidenum">
              <a:rPr lang="en-US" altLang="ru-RU">
                <a:solidFill>
                  <a:srgbClr val="FFFFFF"/>
                </a:solidFill>
              </a:rPr>
              <a:pPr/>
              <a:t>16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33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84175" y="685800"/>
            <a:ext cx="6083300" cy="3422650"/>
          </a:xfrm>
          <a:ln/>
        </p:spPr>
      </p:sp>
      <p:sp>
        <p:nvSpPr>
          <p:cNvPr id="1379331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smtClean="0"/>
              <a:t>В разделе для авторов есть пример авторского договора, который заключает автор с </a:t>
            </a:r>
            <a:r>
              <a:rPr lang="en-US" smtClean="0"/>
              <a:t>PQ</a:t>
            </a:r>
            <a:r>
              <a:rPr lang="ru-RU" smtClean="0"/>
              <a:t>. Для США, и для др. стран</a:t>
            </a:r>
          </a:p>
        </p:txBody>
      </p:sp>
      <p:sp>
        <p:nvSpPr>
          <p:cNvPr id="1379332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C60270BA-2B87-4754-ACFA-DE6902990180}" type="slidenum">
              <a:rPr lang="en-US" altLang="ru-RU">
                <a:solidFill>
                  <a:srgbClr val="FFFFFF"/>
                </a:solidFill>
              </a:rPr>
              <a:pPr/>
              <a:t>17</a:t>
            </a:fld>
            <a:endParaRPr lang="en-US" altLang="ru-RU">
              <a:solidFill>
                <a:srgbClr val="FFFFFF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5EE3B01-1251-B743-8067-38DFD1C09E96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8939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0AEC412-61AA-4915-8E07-A835D2CFE48A}" type="slidenum">
              <a:rPr lang="en-US" altLang="en-US" smtClean="0">
                <a:solidFill>
                  <a:prstClr val="black"/>
                </a:solidFill>
              </a:rPr>
              <a:pPr/>
              <a:t>19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en-US" dirty="0" smtClean="0"/>
              <a:t>Есть специальная платформа </a:t>
            </a:r>
            <a:r>
              <a:rPr lang="ru-RU" altLang="en-US" dirty="0" err="1" smtClean="0"/>
              <a:t>Проквеста</a:t>
            </a:r>
            <a:r>
              <a:rPr lang="ru-RU" altLang="en-US" dirty="0" smtClean="0"/>
              <a:t> - </a:t>
            </a:r>
            <a:r>
              <a:rPr lang="en-GB" sz="1200" dirty="0" smtClean="0"/>
              <a:t>ETD</a:t>
            </a:r>
            <a:r>
              <a:rPr lang="ru-RU" sz="1200" dirty="0" smtClean="0"/>
              <a:t> </a:t>
            </a:r>
            <a:r>
              <a:rPr lang="en-GB" sz="1200" dirty="0" smtClean="0"/>
              <a:t> Administrator</a:t>
            </a:r>
            <a:r>
              <a:rPr lang="ru-RU" altLang="en-US" dirty="0" smtClean="0"/>
              <a:t>. 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288217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590A411-3580-4DE5-86F7-2D6ECB62F651}" type="slidenum">
              <a:rPr lang="en-US" altLang="en-US" smtClean="0">
                <a:solidFill>
                  <a:prstClr val="black"/>
                </a:solidFill>
              </a:rPr>
              <a:pPr/>
              <a:t>20</a:t>
            </a:fld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2">
              <a:spcBef>
                <a:spcPts val="450"/>
              </a:spcBef>
              <a:defRPr/>
            </a:pPr>
            <a:endParaRPr lang="en-IN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0533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B0A6D2F-B1FE-45DF-A6F5-A7AECCBF326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2658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9138" y="1163638"/>
            <a:ext cx="5584825" cy="3141662"/>
          </a:xfrm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465AAB8-E3D6-4B30-AEB2-41F507C00402}" type="slidenum">
              <a:rPr lang="en-US" smtClean="0">
                <a:ea typeface="MS PGothic" pitchFamily="34" charset="-128"/>
              </a:rPr>
              <a:pPr/>
              <a:t>22</a:t>
            </a:fld>
            <a:endParaRPr lang="en-US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64363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083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84324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fld id="{B1F3D8B1-B78B-4E81-AA7C-04A5C03BA17F}" type="slidenum">
              <a:rPr lang="en-US" altLang="en-US" smtClean="0">
                <a:solidFill>
                  <a:prstClr val="black"/>
                </a:solidFill>
                <a:latin typeface="Calibri" pitchFamily="34" charset="0"/>
                <a:ea typeface="ＭＳ Ｐゴシック" pitchFamily="34" charset="-128"/>
              </a:rPr>
              <a:pPr>
                <a:defRPr/>
              </a:pPr>
              <a:t>23</a:t>
            </a:fld>
            <a:endParaRPr lang="en-US" altLang="en-US" smtClean="0">
              <a:solidFill>
                <a:prstClr val="black"/>
              </a:solidFill>
              <a:latin typeface="Calibri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981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E8B6A23-1367-47D6-A1BD-D5ED7234C07D}" type="slidenum">
              <a:rPr lang="en-US">
                <a:solidFill>
                  <a:prstClr val="black"/>
                </a:solidFill>
                <a:ea typeface="MS PGothic" pitchFamily="34" charset="-128"/>
              </a:rPr>
              <a:pPr>
                <a:defRPr/>
              </a:pPr>
              <a:t>25</a:t>
            </a:fld>
            <a:endParaRPr lang="en-US" dirty="0">
              <a:solidFill>
                <a:prstClr val="black"/>
              </a:solidFill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6400" y="696913"/>
            <a:ext cx="6197600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4400"/>
            <a:endParaRPr lang="en-US" altLang="ru-RU" dirty="0" smtClean="0"/>
          </a:p>
          <a:p>
            <a:pPr defTabSz="914400"/>
            <a:endParaRPr lang="en-US" altLang="ru-RU" dirty="0" smtClean="0"/>
          </a:p>
          <a:p>
            <a:pPr defTabSz="914400"/>
            <a:endParaRPr lang="en-US" altLang="ru-RU" dirty="0" smtClean="0"/>
          </a:p>
          <a:p>
            <a:pPr defTabSz="914400"/>
            <a:endParaRPr lang="en-US" altLang="ru-RU" dirty="0" smtClean="0"/>
          </a:p>
          <a:p>
            <a:pPr defTabSz="914400"/>
            <a:r>
              <a:rPr lang="en-US" altLang="ru-RU" dirty="0" smtClean="0"/>
              <a:t>Each dissertation published since July 1980 includes a 350-word abstract written by the author. Master's theses published since 1988 include 150-word abstracts. Simple bibliographic citations are available for dissertations dating from 1637. Where available, PQDT — Full Text provides 24-page previews of dissertations and theses.</a:t>
            </a:r>
          </a:p>
          <a:p>
            <a:pPr defTabSz="914400"/>
            <a:endParaRPr lang="en-IN" altLang="ru-RU" dirty="0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E3EE9807-619E-4F04-AD83-4DBA3A55CAFF}" type="slidenum">
              <a:rPr lang="en-GB" altLang="ru-RU">
                <a:solidFill>
                  <a:prstClr val="black"/>
                </a:solidFill>
              </a:rPr>
              <a:pPr/>
              <a:t>3</a:t>
            </a:fld>
            <a:endParaRPr lang="en-GB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313A2F-4F44-6A43-962F-0DFD3FDCC135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6454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C6D3E34-E4F3-45B0-BE8F-3836CB95214E}" type="slidenum">
              <a:rPr lang="en-US" altLang="ru-RU">
                <a:solidFill>
                  <a:prstClr val="black"/>
                </a:solidFill>
              </a:rPr>
              <a:pPr/>
              <a:t>6</a:t>
            </a:fld>
            <a:endParaRPr lang="en-US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276F436-E3AD-451C-84E6-59D6CF006EAD}" type="slidenum">
              <a:rPr lang="en-US" altLang="ru-RU">
                <a:solidFill>
                  <a:prstClr val="black"/>
                </a:solidFill>
              </a:rPr>
              <a:pPr/>
              <a:t>7</a:t>
            </a:fld>
            <a:endParaRPr lang="en-US" alt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</p:spTree>
    <p:extLst>
      <p:ext uri="{BB962C8B-B14F-4D97-AF65-F5344CB8AC3E}">
        <p14:creationId xmlns:p14="http://schemas.microsoft.com/office/powerpoint/2010/main" val="2262983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8C3A3F7A-27F3-4FF3-925A-BC2874AD6233}" type="slidenum">
              <a:rPr lang="en-US" altLang="en-US" smtClean="0">
                <a:solidFill>
                  <a:srgbClr val="000000"/>
                </a:solidFill>
                <a:ea typeface="ＭＳ Ｐゴシック" pitchFamily="34" charset="-128"/>
              </a:rPr>
              <a:pPr>
                <a:spcBef>
                  <a:spcPct val="0"/>
                </a:spcBef>
                <a:defRPr/>
              </a:pPr>
              <a:t>12</a:t>
            </a:fld>
            <a:endParaRPr lang="en-US" altLang="en-US" smtClean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9138" y="1163638"/>
            <a:ext cx="5584825" cy="3141662"/>
          </a:xfrm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465AAB8-E3D6-4B30-AEB2-41F507C00402}" type="slidenum">
              <a:rPr lang="en-US" smtClean="0">
                <a:solidFill>
                  <a:prstClr val="black"/>
                </a:solidFill>
                <a:ea typeface="MS PGothic" pitchFamily="34" charset="-128"/>
              </a:rPr>
              <a:pPr/>
              <a:t>13</a:t>
            </a:fld>
            <a:endParaRPr lang="en-US" dirty="0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64363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9138" y="1163638"/>
            <a:ext cx="5584825" cy="3141662"/>
          </a:xfrm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465AAB8-E3D6-4B30-AEB2-41F507C00402}" type="slidenum">
              <a:rPr lang="en-US" smtClean="0">
                <a:solidFill>
                  <a:prstClr val="black"/>
                </a:solidFill>
                <a:ea typeface="MS PGothic" pitchFamily="34" charset="-128"/>
              </a:rPr>
              <a:pPr/>
              <a:t>14</a:t>
            </a:fld>
            <a:endParaRPr lang="en-US" dirty="0">
              <a:solidFill>
                <a:prstClr val="black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86436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0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0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emf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emf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emf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1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1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emf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emf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emf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2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2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emf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emf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emf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emf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3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3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3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3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3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3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3.xml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4.xml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4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4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4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4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4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.bin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6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6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6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7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7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7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7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1383" y="164638"/>
            <a:ext cx="11606321" cy="672075"/>
          </a:xfrm>
        </p:spPr>
        <p:txBody>
          <a:bodyPr>
            <a:noAutofit/>
          </a:bodyPr>
          <a:lstStyle>
            <a:lvl1pPr algn="l">
              <a:defRPr sz="3733" b="1">
                <a:solidFill>
                  <a:srgbClr val="5E7076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1383" y="1892829"/>
            <a:ext cx="11606321" cy="4032448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5E707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27381" y="6213309"/>
            <a:ext cx="2016224" cy="288032"/>
          </a:xfrm>
        </p:spPr>
        <p:txBody>
          <a:bodyPr/>
          <a:lstStyle>
            <a:lvl1pPr algn="l">
              <a:defRPr/>
            </a:lvl1pPr>
          </a:lstStyle>
          <a:p>
            <a:fld id="{CB07D4DF-2351-4A60-A90B-60ED82532F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10608518" y="6117323"/>
            <a:ext cx="1429191" cy="48005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5E7076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400" dirty="0">
                <a:solidFill>
                  <a:prstClr val="white"/>
                </a:solidFill>
              </a:rPr>
              <a:t>spbu.ru</a:t>
            </a:r>
            <a:endParaRPr lang="ru-RU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86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рывающи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506757" y="6117323"/>
            <a:ext cx="1429191" cy="48005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5E7076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prstClr val="white"/>
                </a:solidFill>
              </a:rPr>
              <a:t>spbu.ru</a:t>
            </a:r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1372" y="1508790"/>
            <a:ext cx="11425269" cy="480053"/>
          </a:xfrm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rgbClr val="5E707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5327915" y="5253228"/>
            <a:ext cx="15392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5E7076"/>
                </a:solidFill>
                <a:latin typeface="Calibri Light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340906120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31383" y="164638"/>
            <a:ext cx="11606321" cy="672075"/>
          </a:xfrm>
        </p:spPr>
        <p:txBody>
          <a:bodyPr>
            <a:noAutofit/>
          </a:bodyPr>
          <a:lstStyle>
            <a:lvl1pPr algn="l">
              <a:defRPr sz="3733" b="1">
                <a:solidFill>
                  <a:srgbClr val="5E7076"/>
                </a:solidFill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1383" y="1892829"/>
            <a:ext cx="11606321" cy="4032448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rgbClr val="5E707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527381" y="6213309"/>
            <a:ext cx="2016224" cy="288032"/>
          </a:xfrm>
        </p:spPr>
        <p:txBody>
          <a:bodyPr/>
          <a:lstStyle>
            <a:lvl1pPr algn="l">
              <a:defRPr/>
            </a:lvl1pPr>
          </a:lstStyle>
          <a:p>
            <a:fld id="{CB07D4DF-2351-4A60-A90B-60ED82532F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10608518" y="6117323"/>
            <a:ext cx="1429191" cy="48005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5E7076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400" dirty="0">
                <a:solidFill>
                  <a:prstClr val="white"/>
                </a:solidFill>
              </a:rPr>
              <a:t>spbu.ru</a:t>
            </a:r>
            <a:endParaRPr lang="ru-RU" sz="24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86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рывающи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506757" y="6117323"/>
            <a:ext cx="1429191" cy="48005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5E7076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prstClr val="white"/>
                </a:solidFill>
              </a:rPr>
              <a:t>spbu.ru</a:t>
            </a:r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1372" y="1508790"/>
            <a:ext cx="11425269" cy="480053"/>
          </a:xfrm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rgbClr val="5E707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5327915" y="5253228"/>
            <a:ext cx="15392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5E7076"/>
                </a:solidFill>
                <a:latin typeface="Calibri Light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34090612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381366-4A30-48D6-A967-AB23C8F12A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09278B-40C8-42DD-9976-27EFDFEA0C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2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4ED55-DFC3-4C35-8157-5C39AEB8E1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DA3E80-8349-4C97-9007-01EBABDC21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F08F4-ED74-4C66-8B4C-E17A989CEE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F6A9DE-3344-4C88-BC81-9B90CA68C9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DBD3F5-8BFF-4B43-A7F4-06DF5624A5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2B7AC9-FAA7-4D81-A4B5-37A5425DD5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B2215-04F1-4ADF-8AB9-9410B2FE5E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E11551-3FEB-4621-94B9-EFF40753D1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5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5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F18BE3-A13A-4F55-86E8-2D36DB28F8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1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7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69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1955AA1E-E13C-470B-9AD0-2B43EA7D0BA0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12/1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69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69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leo Regular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743DDC9D-99AC-4D1B-99D6-B081B177CED9}" type="slidenum">
              <a:rPr lang="en-US" altLang="ru-RU" smtClean="0">
                <a:solidFill>
                  <a:prstClr val="black"/>
                </a:solidFill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smtClean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25463" y="388938"/>
            <a:ext cx="11281833" cy="646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757337" y="4246899"/>
            <a:ext cx="5950963" cy="1656079"/>
          </a:xfrm>
        </p:spPr>
        <p:txBody>
          <a:bodyPr>
            <a:noAutofit/>
          </a:bodyPr>
          <a:lstStyle>
            <a:lvl1pPr marL="0" indent="0">
              <a:buNone/>
              <a:defRPr sz="2400" baseline="0"/>
            </a:lvl1pPr>
            <a:lvl2pPr marL="342900" indent="0">
              <a:buNone/>
              <a:defRPr sz="2400"/>
            </a:lvl2pPr>
            <a:lvl3pPr marL="685800" indent="0">
              <a:buNone/>
              <a:defRPr sz="2400"/>
            </a:lvl3pPr>
            <a:lvl4pPr marL="1028700" indent="0">
              <a:buNone/>
              <a:defRPr sz="2400"/>
            </a:lvl4pPr>
            <a:lvl5pPr marL="1371600" indent="0"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707287" y="6419850"/>
            <a:ext cx="484716" cy="43815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ea typeface="Open Sans Semibold"/>
                <a:cs typeface="Open Sans Semibold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5376D8AA-24D4-4719-BFE7-C675162719D5}" type="slidenum">
              <a:rPr lang="en-US" smtClean="0">
                <a:solidFill>
                  <a:prstClr val="black"/>
                </a:solidFill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0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9DF5-48EF-421A-B32A-A439A0FE19E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4A379-E83B-4A78-B9FF-CF68246AA238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2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738BE-B76F-492F-8E03-992066136F4E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17" y="1423988"/>
            <a:ext cx="5075767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3383" y="1423988"/>
            <a:ext cx="5075767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5D8D06-5822-4E22-ADBD-FD13261115C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4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84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F4D941-BE8F-4606-9505-C3E1577FF0C7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46D593-6EC2-408C-918F-1872B365263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85CAC8-B334-499B-9738-DEBCA1B4C7E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37E2F2-60D3-48AC-A382-518862068C6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5E050-20CB-4936-9A2C-4A38AC656F8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4215F-4E85-4862-A9A3-2A469A55020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53453" y="146050"/>
            <a:ext cx="2715683" cy="59197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6401" y="146050"/>
            <a:ext cx="7943851" cy="59197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0A74B1-429D-435F-B882-76DAAB5BA42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крывающий слайд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 txBox="1">
            <a:spLocks/>
          </p:cNvSpPr>
          <p:nvPr userDrawn="1"/>
        </p:nvSpPr>
        <p:spPr>
          <a:xfrm>
            <a:off x="506757" y="6117323"/>
            <a:ext cx="1429191" cy="48005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rgbClr val="5E7076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2400" dirty="0">
                <a:solidFill>
                  <a:prstClr val="white"/>
                </a:solidFill>
              </a:rPr>
              <a:t>spbu.ru</a:t>
            </a:r>
            <a:endParaRPr lang="ru-RU" sz="2400" dirty="0">
              <a:solidFill>
                <a:prstClr val="white"/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31372" y="1508790"/>
            <a:ext cx="11425269" cy="480053"/>
          </a:xfrm>
        </p:spPr>
        <p:txBody>
          <a:bodyPr>
            <a:normAutofit/>
          </a:bodyPr>
          <a:lstStyle>
            <a:lvl1pPr marL="0" indent="0" algn="ctr">
              <a:buNone/>
              <a:defRPr sz="2400" baseline="0">
                <a:solidFill>
                  <a:srgbClr val="5E7076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Текст</a:t>
            </a: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5327915" y="5253228"/>
            <a:ext cx="153920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5E7076"/>
                </a:solidFill>
                <a:latin typeface="Calibri Light"/>
              </a:rPr>
              <a:t>СПАСИБО!</a:t>
            </a:r>
          </a:p>
        </p:txBody>
      </p:sp>
    </p:spTree>
    <p:extLst>
      <p:ext uri="{BB962C8B-B14F-4D97-AF65-F5344CB8AC3E}">
        <p14:creationId xmlns:p14="http://schemas.microsoft.com/office/powerpoint/2010/main" val="340906120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No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87"/>
            <a:ext cx="10155803" cy="438091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96"/>
            <a:ext cx="10973119" cy="689903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ar-PQ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788920"/>
            <a:ext cx="12190268" cy="1280160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48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tx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-Q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" y="2474896"/>
            <a:ext cx="12190268" cy="1908215"/>
          </a:xfrm>
          <a:noFill/>
        </p:spPr>
        <p:txBody>
          <a:bodyPr tIns="274320" bIns="274320" anchor="ctr">
            <a:sp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b="0" i="1" smtClean="0">
                <a:solidFill>
                  <a:schemeClr val="bg1"/>
                </a:solidFill>
                <a:effectLst/>
                <a:latin typeface="+mj-lt"/>
                <a:ea typeface="Georgia" charset="0"/>
                <a:cs typeface="Georgia" charset="0"/>
              </a:defRPr>
            </a:lvl1pPr>
          </a:lstStyle>
          <a:p>
            <a:r>
              <a:rPr lang="en-US" dirty="0"/>
              <a:t>“I think that I shall never see </a:t>
            </a:r>
            <a:br>
              <a:rPr lang="en-US" dirty="0"/>
            </a:br>
            <a:r>
              <a:rPr lang="en-US" dirty="0"/>
              <a:t>A poem lovely as a tree.”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>
                    <a:lumMod val="95000"/>
                  </a:schemeClr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>
                    <a:lumMod val="9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95000"/>
                </a:prstClr>
              </a:solidFill>
            </a:endParaRP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Q 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Gra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95" y="388602"/>
            <a:ext cx="8461441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noProof="0" dirty="0"/>
              <a:t>Insert Q&amp;A instruction text here.</a:t>
            </a:r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&amp;A-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781" y="388602"/>
            <a:ext cx="8461443" cy="6469398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889503" y="4305300"/>
            <a:ext cx="6615596" cy="1778000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>
                <a:latin typeface="+mn-lt"/>
              </a:defRPr>
            </a:lvl1pPr>
            <a:lvl2pPr marL="457200" indent="0">
              <a:lnSpc>
                <a:spcPct val="110000"/>
              </a:lnSpc>
              <a:buNone/>
              <a:defRPr>
                <a:latin typeface="+mn-lt"/>
              </a:defRPr>
            </a:lvl2pPr>
            <a:lvl3pPr marL="914400" indent="0">
              <a:lnSpc>
                <a:spcPct val="110000"/>
              </a:lnSpc>
              <a:buNone/>
              <a:defRPr>
                <a:latin typeface="+mn-lt"/>
              </a:defRPr>
            </a:lvl3pPr>
            <a:lvl4pPr marL="1371600" indent="0">
              <a:lnSpc>
                <a:spcPct val="110000"/>
              </a:lnSpc>
              <a:buNone/>
              <a:defRPr>
                <a:latin typeface="+mn-lt"/>
              </a:defRPr>
            </a:lvl4pPr>
            <a:lvl5pPr marL="1828800" indent="0">
              <a:lnSpc>
                <a:spcPct val="110000"/>
              </a:lnSpc>
              <a:buNone/>
              <a:defRPr>
                <a:latin typeface="+mn-lt"/>
              </a:defRPr>
            </a:lvl5pPr>
          </a:lstStyle>
          <a:p>
            <a:pPr lvl="0"/>
            <a:r>
              <a:rPr lang="en-US" dirty="0"/>
              <a:t>Insert </a:t>
            </a:r>
            <a:r>
              <a:rPr lang="en-US"/>
              <a:t>Q&amp;A instruction </a:t>
            </a:r>
            <a:r>
              <a:rPr lang="en-US" dirty="0"/>
              <a:t>text here.</a:t>
            </a:r>
          </a:p>
        </p:txBody>
      </p:sp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" y="4030392"/>
            <a:ext cx="12192000" cy="1157287"/>
          </a:xfrm>
        </p:spPr>
        <p:txBody>
          <a:bodyPr anchor="ctr">
            <a:normAutofit/>
          </a:bodyPr>
          <a:lstStyle>
            <a:lvl1pPr marL="0" indent="0" algn="ctr">
              <a:buNone/>
              <a:defRPr sz="5400" spc="600"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8" y="0"/>
            <a:ext cx="12191999" cy="37465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" y="1688584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Bar-Q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" y="2961084"/>
            <a:ext cx="12190268" cy="1107996"/>
          </a:xfrm>
          <a:solidFill>
            <a:srgbClr val="C21C22"/>
          </a:solidFill>
        </p:spPr>
        <p:txBody>
          <a:bodyPr tIns="274320" bIns="274320" anchor="b">
            <a:spAutoFit/>
          </a:bodyPr>
          <a:lstStyle>
            <a:lvl1pPr algn="ctr">
              <a:lnSpc>
                <a:spcPct val="100000"/>
              </a:lnSpc>
              <a:defRPr sz="3600" b="0" i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21"/>
            <a:ext cx="483704" cy="437807"/>
          </a:xfr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06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-Q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8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36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8" y="4394646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450"/>
              </a:spcAft>
              <a:buNone/>
              <a:defRPr sz="1800" b="1" i="0" spc="-30" baseline="0">
                <a:latin typeface="+mn-lt"/>
                <a:ea typeface="Open Sans Semibold" charset="0"/>
                <a:cs typeface="Open Sans Semibold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1500" b="0" i="1">
                <a:latin typeface="+mj-lt"/>
                <a:ea typeface="Open Sans Light" charset="0"/>
                <a:cs typeface="Open Sans Light" charset="0"/>
              </a:defRPr>
            </a:lvl1pPr>
            <a:lvl2pPr marL="3429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6858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0287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371600" indent="0" algn="ctr">
              <a:buNone/>
              <a:defRPr sz="15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976" y="5479244"/>
            <a:ext cx="2750053" cy="782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80288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PQ_divider_gray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Oval 6"/>
          <p:cNvSpPr/>
          <p:nvPr userDrawn="1"/>
        </p:nvSpPr>
        <p:spPr>
          <a:xfrm>
            <a:off x="8176394" y="3828156"/>
            <a:ext cx="1681239" cy="1260929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797042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PQ_divider_gray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884601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79135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1657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6455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9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47417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32111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158243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lank_PQ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228578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Q_divider_gray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0091229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98197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7554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3" name="Picture 2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93568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" name="Picture 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4851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2" name="Picture 1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72651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50213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93276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02910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6455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15943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959277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58394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06299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9469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839286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429706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42718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3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16389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275864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65567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32578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97618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01365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B5B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008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8038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446489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6455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524035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45320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555481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29929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1190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11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77676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75123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E7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348949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306175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3941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64558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18155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814829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BC8B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84790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417370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89071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12849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386354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4190342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99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97604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46186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10952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64558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42218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1" name="Picture 10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89726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36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9903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10246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302574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1308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1821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24207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7DC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73068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79330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18771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505329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3280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421843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34CB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05377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576927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821092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624974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10876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00073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02D7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81546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14850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9722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263773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344212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870405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B60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83762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87333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405086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48191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797196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898831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945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1979040" y="1572988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6901797" y="-11739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9365889" y="4081250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 descr="Title_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221" y="411845"/>
            <a:ext cx="9388779" cy="4755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3414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 userDrawn="1"/>
        </p:nvSpPr>
        <p:spPr>
          <a:xfrm>
            <a:off x="-3272397" y="-1084512"/>
            <a:ext cx="10590016" cy="7942512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7010653" y="-2126423"/>
            <a:ext cx="6201467" cy="46511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7583727" y="2744628"/>
            <a:ext cx="7983639" cy="5987729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963084" y="3982349"/>
            <a:ext cx="10363200" cy="1429138"/>
          </a:xfrm>
        </p:spPr>
        <p:txBody>
          <a:bodyPr anchor="t"/>
          <a:lstStyle>
            <a:lvl1pPr algn="ctr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963084" y="5411488"/>
            <a:ext cx="10363200" cy="475862"/>
          </a:xfrm>
        </p:spPr>
        <p:txBody>
          <a:bodyPr anchor="b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3" name="Picture 12" descr="Title_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76" y="451689"/>
            <a:ext cx="7340319" cy="2523996"/>
          </a:xfrm>
          <a:prstGeom prst="rect">
            <a:avLst/>
          </a:prstGeom>
        </p:spPr>
      </p:pic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292166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 descr="start her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599432"/>
            <a:ext cx="12192000" cy="2258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035031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23560"/>
            <a:ext cx="12192000" cy="123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31513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Footer_2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871937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63F1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2"/>
            <a:ext cx="10363200" cy="2193726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4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7203720" y="2680370"/>
            <a:ext cx="5535813" cy="415186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 userDrawn="1"/>
        </p:nvSpPr>
        <p:spPr>
          <a:xfrm>
            <a:off x="-2060787" y="-2333357"/>
            <a:ext cx="9920192" cy="7440144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8151367" y="-1147648"/>
            <a:ext cx="4753375" cy="3565031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72200"/>
            <a:ext cx="12192000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689799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9933285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-18775"/>
            <a:ext cx="12192000" cy="1026247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9480" tIns="54738" rIns="109480" bIns="54738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85661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900" b="1" kern="0">
              <a:solidFill>
                <a:prstClr val="white">
                  <a:lumMod val="95000"/>
                </a:prstClr>
              </a:solidFill>
              <a:effectLst>
                <a:outerShdw blurRad="50800" dist="254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609600" y="7"/>
            <a:ext cx="10972800" cy="8524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150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367596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025500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Footer_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95325"/>
            <a:ext cx="12192000" cy="6858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3537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609600" y="135663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Picture Placeholder 19"/>
          <p:cNvSpPr>
            <a:spLocks noGrp="1"/>
          </p:cNvSpPr>
          <p:nvPr>
            <p:ph type="pic" sz="quarter" idx="13"/>
          </p:nvPr>
        </p:nvSpPr>
        <p:spPr>
          <a:xfrm>
            <a:off x="6197600" y="1357313"/>
            <a:ext cx="5384800" cy="452596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9520393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sz="half" idx="1"/>
          </p:nvPr>
        </p:nvSpPr>
        <p:spPr>
          <a:xfrm>
            <a:off x="609600" y="1356631"/>
            <a:ext cx="53848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6197600" y="1357313"/>
            <a:ext cx="5384800" cy="4525962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690541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6253635"/>
            <a:ext cx="12192000" cy="326535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"/>
          </p:nvPr>
        </p:nvSpPr>
        <p:spPr>
          <a:xfrm>
            <a:off x="0" y="914400"/>
            <a:ext cx="12192000" cy="5339216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09600" y="7"/>
            <a:ext cx="9468733" cy="85249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9215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253616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6253635"/>
            <a:ext cx="12192000" cy="326535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10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96874C0-3CF2-6A4F-9538-38078D6674CF}" type="datetime1">
              <a:rPr lang="en-US" smtClean="0">
                <a:solidFill>
                  <a:srgbClr val="000000"/>
                </a:solidFill>
              </a:rPr>
              <a:pPr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fld id="{FD79F44C-B0A7-3A42-A98F-236C7051F6BB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872769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E91965-2896-4A43-9475-723E0E758E8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44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9DF5-48EF-421A-B32A-A439A0FE19E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4A379-E83B-4A78-B9FF-CF68246AA238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19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5738BE-B76F-492F-8E03-992066136F4E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13" y="1423988"/>
            <a:ext cx="5075767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3379" y="1423988"/>
            <a:ext cx="5075767" cy="4641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5D8D06-5822-4E22-ADBD-FD13261115C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8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F4D941-BE8F-4606-9505-C3E1577FF0C7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46D593-6EC2-408C-918F-1872B365263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85CAC8-B334-499B-9738-DEBCA1B4C7E5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7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37E2F2-60D3-48AC-A382-518862068C66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C5E050-20CB-4936-9A2C-4A38AC656F8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04215F-4E85-4862-A9A3-2A469A55020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53453" y="146050"/>
            <a:ext cx="2715683" cy="59197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06401" y="146050"/>
            <a:ext cx="7943851" cy="591978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0A74B1-429D-435F-B882-76DAAB5BA42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05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3" y="1096970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3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93" y="1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63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7023CD56-E139-44C8-A077-6CE2AF811E8E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12/1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63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63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334042BE-6D8D-4F0D-BBB9-490F982B75AF}" type="slidenum">
              <a:rPr lang="en-US">
                <a:solidFill>
                  <a:prstClr val="black"/>
                </a:solidFill>
              </a:rPr>
              <a:pPr defTabSz="457200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>
            <a:off x="7203017" y="2679700"/>
            <a:ext cx="5537200" cy="41529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-2061633" y="-2333625"/>
            <a:ext cx="9920817" cy="7440613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6"/>
          <p:cNvSpPr/>
          <p:nvPr userDrawn="1"/>
        </p:nvSpPr>
        <p:spPr>
          <a:xfrm>
            <a:off x="8151293" y="-1147763"/>
            <a:ext cx="4754033" cy="3565526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10" descr="Footer_3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6172200"/>
            <a:ext cx="12192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5"/>
            <a:ext cx="10363200" cy="2193727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5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PQ_heade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/>
          <p:nvPr userDrawn="1"/>
        </p:nvSpPr>
        <p:spPr>
          <a:xfrm>
            <a:off x="0" y="852488"/>
            <a:ext cx="12192000" cy="6191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6253629"/>
            <a:ext cx="12192000" cy="326535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"/>
          </p:nvPr>
        </p:nvSpPr>
        <p:spPr>
          <a:xfrm>
            <a:off x="0" y="914400"/>
            <a:ext cx="12192000" cy="5339216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16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58C3D70-23D9-4CD7-854B-716C60707504}" type="datetime1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14/2017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0556" y="6592901"/>
            <a:ext cx="5939367" cy="2555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cs typeface="Arial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5504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5301EBC-2B4D-4A14-A4F5-56F0E88961BE}" type="slidenum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1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54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693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" y="1096964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0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685" y="0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7023CD56-E139-44C8-A077-6CE2AF811E8E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12/1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334042BE-6D8D-4F0D-BBB9-490F982B75AF}" type="slidenum">
              <a:rPr lang="en-US">
                <a:solidFill>
                  <a:prstClr val="black"/>
                </a:solidFill>
              </a:rPr>
              <a:pPr defTabSz="457200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>
            <a:off x="7203017" y="2679700"/>
            <a:ext cx="5537200" cy="41529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-2061633" y="-2333625"/>
            <a:ext cx="9920817" cy="7440613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6"/>
          <p:cNvSpPr/>
          <p:nvPr userDrawn="1"/>
        </p:nvSpPr>
        <p:spPr>
          <a:xfrm>
            <a:off x="8151285" y="-1147763"/>
            <a:ext cx="4754033" cy="3565526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10" descr="Footer_3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6172200"/>
            <a:ext cx="12192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14"/>
            <a:ext cx="10363200" cy="2193727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5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PQ_heade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/>
          <p:nvPr userDrawn="1"/>
        </p:nvSpPr>
        <p:spPr>
          <a:xfrm>
            <a:off x="0" y="852488"/>
            <a:ext cx="12192000" cy="6191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6253617"/>
            <a:ext cx="12192000" cy="326535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"/>
          </p:nvPr>
        </p:nvSpPr>
        <p:spPr>
          <a:xfrm>
            <a:off x="0" y="914400"/>
            <a:ext cx="12192000" cy="5339216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16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58C3D70-23D9-4CD7-854B-716C60707504}" type="datetime1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14/2017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0551" y="6592889"/>
            <a:ext cx="5939367" cy="2555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cs typeface="Arial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5504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5301EBC-2B4D-4A14-A4F5-56F0E88961BE}" type="slidenum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444D2728-9A04-4237-A634-4C95E08EFE77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12/1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75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75"/>
            <a:ext cx="2844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1760AD16-ADE1-476A-9E7F-DCC9640A6112}" type="slidenum">
              <a:rPr lang="en-US">
                <a:solidFill>
                  <a:prstClr val="black"/>
                </a:solidFill>
              </a:rPr>
              <a:pPr defTabSz="457200"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2CDF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Oval 4"/>
          <p:cNvSpPr/>
          <p:nvPr userDrawn="1"/>
        </p:nvSpPr>
        <p:spPr>
          <a:xfrm>
            <a:off x="7203017" y="2679700"/>
            <a:ext cx="5537200" cy="4152900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Oval 5"/>
          <p:cNvSpPr/>
          <p:nvPr userDrawn="1"/>
        </p:nvSpPr>
        <p:spPr>
          <a:xfrm>
            <a:off x="-2061633" y="-2333625"/>
            <a:ext cx="9920817" cy="7440613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val 6"/>
          <p:cNvSpPr/>
          <p:nvPr userDrawn="1"/>
        </p:nvSpPr>
        <p:spPr>
          <a:xfrm>
            <a:off x="8151301" y="-1147763"/>
            <a:ext cx="4754033" cy="3565526"/>
          </a:xfrm>
          <a:prstGeom prst="ellipse">
            <a:avLst/>
          </a:prstGeom>
          <a:solidFill>
            <a:schemeClr val="bg1">
              <a:alpha val="1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10" descr="Footer_3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6172200"/>
            <a:ext cx="12192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963084" y="695920"/>
            <a:ext cx="10363200" cy="2193727"/>
          </a:xfrm>
        </p:spPr>
        <p:txBody>
          <a:bodyPr anchor="t"/>
          <a:lstStyle>
            <a:lvl1pPr algn="l">
              <a:defRPr sz="4000" b="1" cap="all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963084" y="2896605"/>
            <a:ext cx="10363200" cy="75509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PQ_heade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4"/>
          <p:cNvSpPr/>
          <p:nvPr userDrawn="1"/>
        </p:nvSpPr>
        <p:spPr>
          <a:xfrm>
            <a:off x="0" y="852488"/>
            <a:ext cx="12192000" cy="6191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half" idx="2"/>
          </p:nvPr>
        </p:nvSpPr>
        <p:spPr>
          <a:xfrm>
            <a:off x="0" y="6253641"/>
            <a:ext cx="12192000" cy="326535"/>
          </a:xfrm>
        </p:spPr>
        <p:txBody>
          <a:bodyPr/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idx="1"/>
          </p:nvPr>
        </p:nvSpPr>
        <p:spPr>
          <a:xfrm>
            <a:off x="0" y="914400"/>
            <a:ext cx="12192000" cy="5339216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7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16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643CE41D-8B9F-423D-A2F0-21282ED5B281}" type="datetime1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2/14/2017</a:t>
            </a:fld>
            <a:endParaRPr lang="en-US" smtClean="0">
              <a:cs typeface="Arial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30567" y="6592913"/>
            <a:ext cx="5939367" cy="2555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cs typeface="Arial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9550400" y="6553200"/>
            <a:ext cx="2540000" cy="2286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rgbClr val="000000"/>
                </a:solidFill>
                <a:latin typeface="Calibri" pitchFamily="34" charset="0"/>
                <a:ea typeface="ＭＳ Ｐゴシック" pitchFamily="34" charset="-128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3FA6B6E-9D3B-4701-B4E2-27591D15D798}" type="slidenum">
              <a:rPr lang="en-US" smtClean="0"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/>
          <p:nvPr userDrawn="1"/>
        </p:nvSpPr>
        <p:spPr>
          <a:xfrm flipH="1">
            <a:off x="0" y="2233624"/>
            <a:ext cx="12192000" cy="4624387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467707">
                <a:moveTo>
                  <a:pt x="0" y="0"/>
                </a:moveTo>
                <a:lnTo>
                  <a:pt x="9178925" y="857714"/>
                </a:lnTo>
                <a:lnTo>
                  <a:pt x="9178925" y="3467707"/>
                </a:lnTo>
                <a:lnTo>
                  <a:pt x="0" y="34677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2116138"/>
            <a:ext cx="12192000" cy="47418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946827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ectangle 4"/>
          <p:cNvSpPr/>
          <p:nvPr userDrawn="1"/>
        </p:nvSpPr>
        <p:spPr>
          <a:xfrm>
            <a:off x="0" y="2560638"/>
            <a:ext cx="12192000" cy="429736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3556820">
                <a:moveTo>
                  <a:pt x="0" y="0"/>
                </a:moveTo>
                <a:lnTo>
                  <a:pt x="9178925" y="811590"/>
                </a:lnTo>
                <a:lnTo>
                  <a:pt x="9178925" y="3556820"/>
                </a:lnTo>
                <a:lnTo>
                  <a:pt x="0" y="3556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886200" y="762000"/>
            <a:ext cx="4436533" cy="1227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4084367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914400" y="5074717"/>
            <a:ext cx="10363200" cy="861115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/>
          <p:nvPr userDrawn="1"/>
        </p:nvSpPr>
        <p:spPr>
          <a:xfrm flipH="1">
            <a:off x="15" y="1096971"/>
            <a:ext cx="12206817" cy="4835525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345177"/>
              <a:gd name="connsiteX1" fmla="*/ 9178925 w 9178925"/>
              <a:gd name="connsiteY1" fmla="*/ 735184 h 3345177"/>
              <a:gd name="connsiteX2" fmla="*/ 9178925 w 9178925"/>
              <a:gd name="connsiteY2" fmla="*/ 3345177 h 3345177"/>
              <a:gd name="connsiteX3" fmla="*/ 0 w 9178925"/>
              <a:gd name="connsiteY3" fmla="*/ 3345177 h 3345177"/>
              <a:gd name="connsiteX4" fmla="*/ 0 w 9178925"/>
              <a:gd name="connsiteY4" fmla="*/ 0 h 3345177"/>
              <a:gd name="connsiteX0" fmla="*/ 0 w 9178925"/>
              <a:gd name="connsiteY0" fmla="*/ 0 h 3467707"/>
              <a:gd name="connsiteX1" fmla="*/ 9178925 w 9178925"/>
              <a:gd name="connsiteY1" fmla="*/ 857714 h 3467707"/>
              <a:gd name="connsiteX2" fmla="*/ 9178925 w 9178925"/>
              <a:gd name="connsiteY2" fmla="*/ 3467707 h 3467707"/>
              <a:gd name="connsiteX3" fmla="*/ 0 w 9178925"/>
              <a:gd name="connsiteY3" fmla="*/ 3467707 h 3467707"/>
              <a:gd name="connsiteX4" fmla="*/ 0 w 9178925"/>
              <a:gd name="connsiteY4" fmla="*/ 0 h 3467707"/>
              <a:gd name="connsiteX0" fmla="*/ 0 w 9178925"/>
              <a:gd name="connsiteY0" fmla="*/ 0 h 3679350"/>
              <a:gd name="connsiteX1" fmla="*/ 9178925 w 9178925"/>
              <a:gd name="connsiteY1" fmla="*/ 857714 h 3679350"/>
              <a:gd name="connsiteX2" fmla="*/ 9178925 w 9178925"/>
              <a:gd name="connsiteY2" fmla="*/ 3679350 h 3679350"/>
              <a:gd name="connsiteX3" fmla="*/ 0 w 9178925"/>
              <a:gd name="connsiteY3" fmla="*/ 3467707 h 3679350"/>
              <a:gd name="connsiteX4" fmla="*/ 0 w 9178925"/>
              <a:gd name="connsiteY4" fmla="*/ 0 h 3679350"/>
              <a:gd name="connsiteX0" fmla="*/ 11184 w 9190109"/>
              <a:gd name="connsiteY0" fmla="*/ 0 h 3679350"/>
              <a:gd name="connsiteX1" fmla="*/ 9190109 w 9190109"/>
              <a:gd name="connsiteY1" fmla="*/ 857714 h 3679350"/>
              <a:gd name="connsiteX2" fmla="*/ 9190109 w 9190109"/>
              <a:gd name="connsiteY2" fmla="*/ 3679350 h 3679350"/>
              <a:gd name="connsiteX3" fmla="*/ 0 w 9190109"/>
              <a:gd name="connsiteY3" fmla="*/ 3289480 h 3679350"/>
              <a:gd name="connsiteX4" fmla="*/ 11184 w 9190109"/>
              <a:gd name="connsiteY4" fmla="*/ 0 h 3679350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289480 h 3869527"/>
              <a:gd name="connsiteX4" fmla="*/ 11184 w 9190109"/>
              <a:gd name="connsiteY4" fmla="*/ 0 h 3869527"/>
              <a:gd name="connsiteX0" fmla="*/ 11184 w 9190109"/>
              <a:gd name="connsiteY0" fmla="*/ 0 h 3869527"/>
              <a:gd name="connsiteX1" fmla="*/ 9190109 w 9190109"/>
              <a:gd name="connsiteY1" fmla="*/ 857714 h 3869527"/>
              <a:gd name="connsiteX2" fmla="*/ 9190109 w 9190109"/>
              <a:gd name="connsiteY2" fmla="*/ 3869527 h 3869527"/>
              <a:gd name="connsiteX3" fmla="*/ 0 w 9190109"/>
              <a:gd name="connsiteY3" fmla="*/ 3348911 h 3869527"/>
              <a:gd name="connsiteX4" fmla="*/ 11184 w 9190109"/>
              <a:gd name="connsiteY4" fmla="*/ 0 h 3869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869527">
                <a:moveTo>
                  <a:pt x="11184" y="0"/>
                </a:moveTo>
                <a:lnTo>
                  <a:pt x="9190109" y="857714"/>
                </a:lnTo>
                <a:lnTo>
                  <a:pt x="9190109" y="3869527"/>
                </a:lnTo>
                <a:lnTo>
                  <a:pt x="0" y="3348911"/>
                </a:lnTo>
                <a:lnTo>
                  <a:pt x="11184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ectangle 4"/>
          <p:cNvSpPr/>
          <p:nvPr userDrawn="1"/>
        </p:nvSpPr>
        <p:spPr>
          <a:xfrm>
            <a:off x="15" y="811213"/>
            <a:ext cx="12206817" cy="4902200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3556820 h 3813020"/>
              <a:gd name="connsiteX4" fmla="*/ 0 w 9178925"/>
              <a:gd name="connsiteY4" fmla="*/ 0 h 3813020"/>
              <a:gd name="connsiteX0" fmla="*/ 0 w 9178925"/>
              <a:gd name="connsiteY0" fmla="*/ 0 h 3813020"/>
              <a:gd name="connsiteX1" fmla="*/ 9178925 w 9178925"/>
              <a:gd name="connsiteY1" fmla="*/ 946827 h 3813020"/>
              <a:gd name="connsiteX2" fmla="*/ 9178925 w 9178925"/>
              <a:gd name="connsiteY2" fmla="*/ 3813020 h 3813020"/>
              <a:gd name="connsiteX3" fmla="*/ 0 w 9178925"/>
              <a:gd name="connsiteY3" fmla="*/ 2955306 h 3813020"/>
              <a:gd name="connsiteX4" fmla="*/ 0 w 9178925"/>
              <a:gd name="connsiteY4" fmla="*/ 0 h 3813020"/>
              <a:gd name="connsiteX0" fmla="*/ 0 w 9190109"/>
              <a:gd name="connsiteY0" fmla="*/ 0 h 3757325"/>
              <a:gd name="connsiteX1" fmla="*/ 9178925 w 9190109"/>
              <a:gd name="connsiteY1" fmla="*/ 946827 h 3757325"/>
              <a:gd name="connsiteX2" fmla="*/ 9190109 w 9190109"/>
              <a:gd name="connsiteY2" fmla="*/ 3757325 h 3757325"/>
              <a:gd name="connsiteX3" fmla="*/ 0 w 9190109"/>
              <a:gd name="connsiteY3" fmla="*/ 2955306 h 3757325"/>
              <a:gd name="connsiteX4" fmla="*/ 0 w 9190109"/>
              <a:gd name="connsiteY4" fmla="*/ 0 h 3757325"/>
              <a:gd name="connsiteX0" fmla="*/ 0 w 9190109"/>
              <a:gd name="connsiteY0" fmla="*/ 0 h 3923729"/>
              <a:gd name="connsiteX1" fmla="*/ 9178925 w 9190109"/>
              <a:gd name="connsiteY1" fmla="*/ 1113231 h 3923729"/>
              <a:gd name="connsiteX2" fmla="*/ 9190109 w 9190109"/>
              <a:gd name="connsiteY2" fmla="*/ 3923729 h 3923729"/>
              <a:gd name="connsiteX3" fmla="*/ 0 w 9190109"/>
              <a:gd name="connsiteY3" fmla="*/ 3121710 h 3923729"/>
              <a:gd name="connsiteX4" fmla="*/ 0 w 9190109"/>
              <a:gd name="connsiteY4" fmla="*/ 0 h 3923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90109" h="3923729">
                <a:moveTo>
                  <a:pt x="0" y="0"/>
                </a:moveTo>
                <a:lnTo>
                  <a:pt x="9178925" y="1113231"/>
                </a:lnTo>
                <a:lnTo>
                  <a:pt x="9190109" y="3923729"/>
                </a:lnTo>
                <a:lnTo>
                  <a:pt x="0" y="31217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5" y="1423988"/>
            <a:ext cx="12206817" cy="4849812"/>
          </a:xfrm>
          <a:custGeom>
            <a:avLst/>
            <a:gdLst>
              <a:gd name="connsiteX0" fmla="*/ 0 w 9178925"/>
              <a:gd name="connsiteY0" fmla="*/ 0 h 3545681"/>
              <a:gd name="connsiteX1" fmla="*/ 9178925 w 9178925"/>
              <a:gd name="connsiteY1" fmla="*/ 0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45681"/>
              <a:gd name="connsiteX1" fmla="*/ 9178925 w 9178925"/>
              <a:gd name="connsiteY1" fmla="*/ 935688 h 3545681"/>
              <a:gd name="connsiteX2" fmla="*/ 9178925 w 9178925"/>
              <a:gd name="connsiteY2" fmla="*/ 3545681 h 3545681"/>
              <a:gd name="connsiteX3" fmla="*/ 0 w 9178925"/>
              <a:gd name="connsiteY3" fmla="*/ 3545681 h 3545681"/>
              <a:gd name="connsiteX4" fmla="*/ 0 w 9178925"/>
              <a:gd name="connsiteY4" fmla="*/ 0 h 3545681"/>
              <a:gd name="connsiteX0" fmla="*/ 0 w 9178925"/>
              <a:gd name="connsiteY0" fmla="*/ 0 h 3556820"/>
              <a:gd name="connsiteX1" fmla="*/ 9178925 w 9178925"/>
              <a:gd name="connsiteY1" fmla="*/ 946827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0 w 9178925"/>
              <a:gd name="connsiteY3" fmla="*/ 3556820 h 3556820"/>
              <a:gd name="connsiteX4" fmla="*/ 0 w 9178925"/>
              <a:gd name="connsiteY4" fmla="*/ 0 h 3556820"/>
              <a:gd name="connsiteX0" fmla="*/ 0 w 9178925"/>
              <a:gd name="connsiteY0" fmla="*/ 0 h 3556820"/>
              <a:gd name="connsiteX1" fmla="*/ 9178925 w 9178925"/>
              <a:gd name="connsiteY1" fmla="*/ 811590 h 3556820"/>
              <a:gd name="connsiteX2" fmla="*/ 9178925 w 9178925"/>
              <a:gd name="connsiteY2" fmla="*/ 3556820 h 3556820"/>
              <a:gd name="connsiteX3" fmla="*/ 11184 w 9178925"/>
              <a:gd name="connsiteY3" fmla="*/ 3077345 h 3556820"/>
              <a:gd name="connsiteX4" fmla="*/ 0 w 9178925"/>
              <a:gd name="connsiteY4" fmla="*/ 0 h 3556820"/>
              <a:gd name="connsiteX0" fmla="*/ 0 w 9178925"/>
              <a:gd name="connsiteY0" fmla="*/ 0 h 4060883"/>
              <a:gd name="connsiteX1" fmla="*/ 9178925 w 9178925"/>
              <a:gd name="connsiteY1" fmla="*/ 811590 h 4060883"/>
              <a:gd name="connsiteX2" fmla="*/ 9178925 w 9178925"/>
              <a:gd name="connsiteY2" fmla="*/ 4060883 h 4060883"/>
              <a:gd name="connsiteX3" fmla="*/ 11184 w 9178925"/>
              <a:gd name="connsiteY3" fmla="*/ 3077345 h 4060883"/>
              <a:gd name="connsiteX4" fmla="*/ 0 w 9178925"/>
              <a:gd name="connsiteY4" fmla="*/ 0 h 4060883"/>
              <a:gd name="connsiteX0" fmla="*/ 0 w 9178925"/>
              <a:gd name="connsiteY0" fmla="*/ 0 h 4283898"/>
              <a:gd name="connsiteX1" fmla="*/ 9178925 w 9178925"/>
              <a:gd name="connsiteY1" fmla="*/ 811590 h 4283898"/>
              <a:gd name="connsiteX2" fmla="*/ 9178925 w 9178925"/>
              <a:gd name="connsiteY2" fmla="*/ 4283898 h 4283898"/>
              <a:gd name="connsiteX3" fmla="*/ 11184 w 9178925"/>
              <a:gd name="connsiteY3" fmla="*/ 3077345 h 4283898"/>
              <a:gd name="connsiteX4" fmla="*/ 0 w 9178925"/>
              <a:gd name="connsiteY4" fmla="*/ 0 h 42838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78925" h="4283898">
                <a:moveTo>
                  <a:pt x="0" y="0"/>
                </a:moveTo>
                <a:lnTo>
                  <a:pt x="9178925" y="811590"/>
                </a:lnTo>
                <a:lnTo>
                  <a:pt x="9178925" y="4283898"/>
                </a:lnTo>
                <a:lnTo>
                  <a:pt x="11184" y="307734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75000"/>
              <a:alpha val="7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970446"/>
            <a:ext cx="10363200" cy="99033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sp>
        <p:nvSpPr>
          <p:cNvPr id="5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D91935">
                  <a:lumMod val="75000"/>
                </a:srgbClr>
              </a:solidFill>
              <a:latin typeface="Aleo Regular"/>
            </a:endParaRPr>
          </a:p>
        </p:txBody>
      </p:sp>
      <p:pic>
        <p:nvPicPr>
          <p:cNvPr id="6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38528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No 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32" y="872785"/>
            <a:ext cx="10973119" cy="68990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6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7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 b="0" i="0"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38528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2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4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5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6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Pillar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3">
              <a:lumMod val="75000"/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ight Triangle 3"/>
          <p:cNvSpPr/>
          <p:nvPr userDrawn="1"/>
        </p:nvSpPr>
        <p:spPr>
          <a:xfrm flipH="1" flipV="1">
            <a:off x="9065701" y="6"/>
            <a:ext cx="3143249" cy="1433513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sp>
        <p:nvSpPr>
          <p:cNvPr id="4" name="Right Triangle 4"/>
          <p:cNvSpPr/>
          <p:nvPr userDrawn="1"/>
        </p:nvSpPr>
        <p:spPr>
          <a:xfrm flipH="1" flipV="1">
            <a:off x="8257117" y="0"/>
            <a:ext cx="3951816" cy="1169988"/>
          </a:xfrm>
          <a:prstGeom prst="rtTriangle">
            <a:avLst/>
          </a:prstGeom>
          <a:solidFill>
            <a:schemeClr val="accent1">
              <a:alpha val="69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prstClr val="white"/>
              </a:solidFill>
              <a:latin typeface="Aleo Regular"/>
            </a:endParaRPr>
          </a:p>
        </p:txBody>
      </p:sp>
      <p:pic>
        <p:nvPicPr>
          <p:cNvPr id="5" name="Picture 5" descr="pq-logo-white-6in.ai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0574867" y="207963"/>
            <a:ext cx="1397000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3" y="274639"/>
            <a:ext cx="9158260" cy="1143000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fld id="{1955AA1E-E13C-470B-9AD0-2B43EA7D0BA0}" type="datetimeFigureOut">
              <a:rPr lang="en-US">
                <a:solidFill>
                  <a:prstClr val="black"/>
                </a:solidFill>
              </a:rPr>
              <a:pPr defTabSz="457200">
                <a:defRPr/>
              </a:pPr>
              <a:t>12/14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75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Aleo Regular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75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leo Regular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743DDC9D-99AC-4D1B-99D6-B081B177CED9}" type="slidenum">
              <a:rPr lang="en-US" altLang="ru-RU" smtClean="0">
                <a:solidFill>
                  <a:prstClr val="black"/>
                </a:solidFill>
                <a:cs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smtClean="0">
              <a:solidFill>
                <a:prstClr val="black"/>
              </a:solidFill>
              <a:cs typeface="Arial" pitchFamily="34" charset="0"/>
            </a:endParaRPr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-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425463" y="388938"/>
            <a:ext cx="11281833" cy="6469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757337" y="4246905"/>
            <a:ext cx="5950963" cy="1656079"/>
          </a:xfrm>
        </p:spPr>
        <p:txBody>
          <a:bodyPr>
            <a:noAutofit/>
          </a:bodyPr>
          <a:lstStyle>
            <a:lvl1pPr marL="0" indent="0">
              <a:buNone/>
              <a:defRPr sz="2400" baseline="0"/>
            </a:lvl1pPr>
            <a:lvl2pPr marL="342900" indent="0">
              <a:buNone/>
              <a:defRPr sz="2400"/>
            </a:lvl2pPr>
            <a:lvl3pPr marL="685800" indent="0">
              <a:buNone/>
              <a:defRPr sz="2400"/>
            </a:lvl3pPr>
            <a:lvl4pPr marL="1028700" indent="0">
              <a:buNone/>
              <a:defRPr sz="2400"/>
            </a:lvl4pPr>
            <a:lvl5pPr marL="1371600" indent="0">
              <a:buNone/>
              <a:defRPr sz="2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</p:nvPr>
        </p:nvSpPr>
        <p:spPr>
          <a:xfrm>
            <a:off x="11707287" y="6419850"/>
            <a:ext cx="484716" cy="43815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ea typeface="Open Sans Semibold"/>
                <a:cs typeface="Open Sans Semibold"/>
              </a:defRPr>
            </a:lvl1pPr>
          </a:lstStyle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5376D8AA-24D4-4719-BFE7-C675162719D5}" type="slidenum">
              <a:rPr lang="en-US" smtClean="0">
                <a:solidFill>
                  <a:prstClr val="black"/>
                </a:solidFill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03128" cy="79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77044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Plain-Red">
    <p:bg>
      <p:bgPr>
        <a:gradFill>
          <a:gsLst>
            <a:gs pos="0">
              <a:srgbClr val="CE1F30"/>
            </a:gs>
            <a:gs pos="100000">
              <a:srgbClr val="971722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75" t="22343" r="7607" b="83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20424" y="1469369"/>
            <a:ext cx="10151167" cy="2128596"/>
          </a:xfrm>
        </p:spPr>
        <p:txBody>
          <a:bodyPr anchor="b">
            <a:normAutofit/>
          </a:bodyPr>
          <a:lstStyle>
            <a:lvl1pPr algn="ctr">
              <a:defRPr sz="4800" b="0" i="0" spc="0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394642"/>
            <a:ext cx="10151167" cy="492883"/>
          </a:xfrm>
        </p:spPr>
        <p:txBody>
          <a:bodyPr>
            <a:noAutofit/>
          </a:bodyPr>
          <a:lstStyle>
            <a:lvl1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  <a:defRPr sz="2400" b="1" i="0" spc="-40" baseline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1020765" y="3679919"/>
            <a:ext cx="10150475" cy="309562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solidFill>
                  <a:schemeClr val="bg1"/>
                </a:solidFill>
                <a:latin typeface="+mj-lt"/>
                <a:ea typeface="Open Sans Light" charset="0"/>
                <a:cs typeface="Open Sans Light" charset="0"/>
              </a:defRPr>
            </a:lvl1pPr>
            <a:lvl2pPr marL="4572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2pPr>
            <a:lvl3pPr marL="9144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3pPr>
            <a:lvl4pPr marL="13716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4pPr>
            <a:lvl5pPr marL="1828800" indent="0" algn="ctr">
              <a:buNone/>
              <a:defRPr sz="2000" b="0" i="1">
                <a:latin typeface="Open Sans Light" charset="0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471543"/>
            <a:ext cx="2118360" cy="803842"/>
          </a:xfrm>
          <a:prstGeom prst="rect">
            <a:avLst/>
          </a:prstGeom>
        </p:spPr>
      </p:pic>
    </p:spTree>
    <p:extLst/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Horz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20424" y="3469962"/>
            <a:ext cx="10151167" cy="697628"/>
          </a:xfrm>
        </p:spPr>
        <p:txBody>
          <a:bodyPr anchor="t">
            <a:noAutofit/>
          </a:bodyPr>
          <a:lstStyle>
            <a:lvl1pPr algn="ctr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20424" y="4846477"/>
            <a:ext cx="10151167" cy="526774"/>
          </a:xfrm>
        </p:spPr>
        <p:txBody>
          <a:bodyPr>
            <a:normAutofit/>
          </a:bodyPr>
          <a:lstStyle>
            <a:lvl1pPr marL="0" indent="0" algn="ctr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440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21109" y="4239863"/>
            <a:ext cx="10150475" cy="309563"/>
          </a:xfrm>
        </p:spPr>
        <p:txBody>
          <a:bodyPr>
            <a:noAutofit/>
          </a:bodyPr>
          <a:lstStyle>
            <a:lvl1pPr marL="0" indent="0" algn="ctr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8" y="0"/>
            <a:ext cx="12191999" cy="3276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" y="1546761"/>
            <a:ext cx="12191999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064" userDrawn="1">
          <p15:clr>
            <a:srgbClr val="FBAE40"/>
          </p15:clr>
        </p15:guide>
        <p15:guide id="2" orient="horz" userDrawn="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Image-Vert-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11149" y="2489009"/>
            <a:ext cx="6460435" cy="133028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4400" b="0" i="0" spc="0" baseline="0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711149" y="4692677"/>
            <a:ext cx="6460435" cy="526774"/>
          </a:xfrm>
        </p:spPr>
        <p:txBody>
          <a:bodyPr>
            <a:normAutofit/>
          </a:bodyPr>
          <a:lstStyle>
            <a:lvl1pPr marL="0" indent="0" algn="l">
              <a:buNone/>
              <a:defRPr sz="2400" b="1" i="0" spc="-40" baseline="0">
                <a:latin typeface="+mn-lt"/>
                <a:ea typeface="Open Sans Semibold" charset="0"/>
                <a:cs typeface="Open Sans Semibol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799" y="5760720"/>
            <a:ext cx="2103120" cy="798062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4711149" y="4031631"/>
            <a:ext cx="6460435" cy="309563"/>
          </a:xfrm>
        </p:spPr>
        <p:txBody>
          <a:bodyPr>
            <a:noAutofit/>
          </a:bodyPr>
          <a:lstStyle>
            <a:lvl1pPr marL="0" indent="0" algn="l">
              <a:buNone/>
              <a:defRPr sz="2000" b="0" i="1">
                <a:latin typeface="+mj-lt"/>
                <a:ea typeface="Open Sans Light" charset="0"/>
                <a:cs typeface="Open Sans Light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" y="0"/>
            <a:ext cx="42291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" y="3275115"/>
            <a:ext cx="4244009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  <a:ea typeface="Open Sans Light" charset="0"/>
                <a:cs typeface="Open Sans Light" charset="0"/>
              </a:rPr>
              <a:t>(Edit/crop photo to align within this space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>
        <p15:guide id="1" pos="2664" userDrawn="1">
          <p15:clr>
            <a:srgbClr val="FBAE40"/>
          </p15:clr>
        </p15:guide>
        <p15:guide id="2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188720"/>
            <a:ext cx="10155803" cy="4754880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line and Content-Q-Mktg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alphaModFix amt="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8" t="22189" r="7617" b="558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2550"/>
            <a:ext cx="12192000" cy="42545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320" y="182881"/>
            <a:ext cx="10972800" cy="680720"/>
          </a:xfrm>
        </p:spPr>
        <p:txBody>
          <a:bodyPr anchor="t">
            <a:noAutofit/>
          </a:bodyPr>
          <a:lstStyle>
            <a:lvl1pPr>
              <a:defRPr sz="4400" b="1" i="0" baseline="0">
                <a:solidFill>
                  <a:srgbClr val="C21C22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8641" y="1562694"/>
            <a:ext cx="10155803" cy="4404061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1pPr>
            <a:lvl2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2pPr>
            <a:lvl3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4pPr>
            <a:lvl5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defRPr b="0" i="0" spc="30" baseline="0">
                <a:latin typeface="+mj-lt"/>
                <a:ea typeface="Open Sans Light" charset="0"/>
                <a:cs typeface="Open Sans Ligh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08296" y="6420217"/>
            <a:ext cx="483704" cy="437807"/>
          </a:xfrm>
        </p:spPr>
        <p:txBody>
          <a:bodyPr/>
          <a:lstStyle>
            <a:lvl1pPr>
              <a:defRPr b="1" i="0">
                <a:solidFill>
                  <a:schemeClr val="bg1"/>
                </a:solidFill>
                <a:latin typeface="+mn-lt"/>
                <a:ea typeface="Open Sans Semibold" charset="0"/>
                <a:cs typeface="Open Sans Semibold" charset="0"/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1"/>
            <a:ext cx="101600" cy="863600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74320" y="872784"/>
            <a:ext cx="10972800" cy="685312"/>
          </a:xfrm>
        </p:spPr>
        <p:txBody>
          <a:bodyPr/>
          <a:lstStyle>
            <a:lvl1pPr marL="0" indent="0">
              <a:buNone/>
              <a:defRPr i="1">
                <a:solidFill>
                  <a:srgbClr val="5D5B55"/>
                </a:solidFill>
                <a:latin typeface="+mj-lt"/>
              </a:defRPr>
            </a:lvl1pPr>
            <a:lvl2pPr marL="457200" indent="0">
              <a:buNone/>
              <a:defRPr i="1"/>
            </a:lvl2pPr>
            <a:lvl3pPr marL="914400" indent="0">
              <a:buNone/>
              <a:defRPr i="1"/>
            </a:lvl3pPr>
            <a:lvl4pPr marL="1371600" indent="0">
              <a:buNone/>
              <a:defRPr i="1"/>
            </a:lvl4pPr>
            <a:lvl5pPr marL="1828800" indent="0">
              <a:buNone/>
              <a:defRPr i="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18" Type="http://schemas.openxmlformats.org/officeDocument/2006/relationships/slideLayout" Target="../slideLayouts/slideLayout251.xml"/><Relationship Id="rId26" Type="http://schemas.openxmlformats.org/officeDocument/2006/relationships/slideLayout" Target="../slideLayouts/slideLayout259.xml"/><Relationship Id="rId3" Type="http://schemas.openxmlformats.org/officeDocument/2006/relationships/slideLayout" Target="../slideLayouts/slideLayout236.xml"/><Relationship Id="rId21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5" Type="http://schemas.openxmlformats.org/officeDocument/2006/relationships/slideLayout" Target="../slideLayouts/slideLayout258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20" Type="http://schemas.openxmlformats.org/officeDocument/2006/relationships/slideLayout" Target="../slideLayouts/slideLayout253.xml"/><Relationship Id="rId29" Type="http://schemas.openxmlformats.org/officeDocument/2006/relationships/theme" Target="../theme/theme10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24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23" Type="http://schemas.openxmlformats.org/officeDocument/2006/relationships/slideLayout" Target="../slideLayouts/slideLayout256.xml"/><Relationship Id="rId28" Type="http://schemas.openxmlformats.org/officeDocument/2006/relationships/slideLayout" Target="../slideLayouts/slideLayout261.xml"/><Relationship Id="rId10" Type="http://schemas.openxmlformats.org/officeDocument/2006/relationships/slideLayout" Target="../slideLayouts/slideLayout243.xml"/><Relationship Id="rId19" Type="http://schemas.openxmlformats.org/officeDocument/2006/relationships/slideLayout" Target="../slideLayouts/slideLayout252.xml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Relationship Id="rId22" Type="http://schemas.openxmlformats.org/officeDocument/2006/relationships/slideLayout" Target="../slideLayouts/slideLayout255.xml"/><Relationship Id="rId27" Type="http://schemas.openxmlformats.org/officeDocument/2006/relationships/slideLayout" Target="../slideLayouts/slideLayout26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18" Type="http://schemas.openxmlformats.org/officeDocument/2006/relationships/slideLayout" Target="../slideLayouts/slideLayout279.xml"/><Relationship Id="rId26" Type="http://schemas.openxmlformats.org/officeDocument/2006/relationships/slideLayout" Target="../slideLayouts/slideLayout287.xml"/><Relationship Id="rId3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82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17" Type="http://schemas.openxmlformats.org/officeDocument/2006/relationships/slideLayout" Target="../slideLayouts/slideLayout278.xml"/><Relationship Id="rId25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63.xml"/><Relationship Id="rId16" Type="http://schemas.openxmlformats.org/officeDocument/2006/relationships/slideLayout" Target="../slideLayouts/slideLayout277.xml"/><Relationship Id="rId20" Type="http://schemas.openxmlformats.org/officeDocument/2006/relationships/slideLayout" Target="../slideLayouts/slideLayout281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24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66.xml"/><Relationship Id="rId15" Type="http://schemas.openxmlformats.org/officeDocument/2006/relationships/slideLayout" Target="../slideLayouts/slideLayout276.xml"/><Relationship Id="rId23" Type="http://schemas.openxmlformats.org/officeDocument/2006/relationships/slideLayout" Target="../slideLayouts/slideLayout284.xml"/><Relationship Id="rId28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71.xml"/><Relationship Id="rId19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slideLayout" Target="../slideLayouts/slideLayout275.xml"/><Relationship Id="rId22" Type="http://schemas.openxmlformats.org/officeDocument/2006/relationships/slideLayout" Target="../slideLayouts/slideLayout283.xml"/><Relationship Id="rId27" Type="http://schemas.openxmlformats.org/officeDocument/2006/relationships/slideLayout" Target="../slideLayouts/slideLayout28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slideLayout" Target="../slideLayouts/slideLayout302.xml"/><Relationship Id="rId18" Type="http://schemas.openxmlformats.org/officeDocument/2006/relationships/slideLayout" Target="../slideLayouts/slideLayout307.xml"/><Relationship Id="rId26" Type="http://schemas.openxmlformats.org/officeDocument/2006/relationships/slideLayout" Target="../slideLayouts/slideLayout315.xml"/><Relationship Id="rId3" Type="http://schemas.openxmlformats.org/officeDocument/2006/relationships/slideLayout" Target="../slideLayouts/slideLayout292.xml"/><Relationship Id="rId21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1.xml"/><Relationship Id="rId17" Type="http://schemas.openxmlformats.org/officeDocument/2006/relationships/slideLayout" Target="../slideLayouts/slideLayout306.xml"/><Relationship Id="rId25" Type="http://schemas.openxmlformats.org/officeDocument/2006/relationships/slideLayout" Target="../slideLayouts/slideLayout314.xml"/><Relationship Id="rId2" Type="http://schemas.openxmlformats.org/officeDocument/2006/relationships/slideLayout" Target="../slideLayouts/slideLayout291.xml"/><Relationship Id="rId16" Type="http://schemas.openxmlformats.org/officeDocument/2006/relationships/slideLayout" Target="../slideLayouts/slideLayout305.xml"/><Relationship Id="rId20" Type="http://schemas.openxmlformats.org/officeDocument/2006/relationships/slideLayout" Target="../slideLayouts/slideLayout309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24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294.xml"/><Relationship Id="rId15" Type="http://schemas.openxmlformats.org/officeDocument/2006/relationships/slideLayout" Target="../slideLayouts/slideLayout304.xml"/><Relationship Id="rId23" Type="http://schemas.openxmlformats.org/officeDocument/2006/relationships/slideLayout" Target="../slideLayouts/slideLayout312.xml"/><Relationship Id="rId28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slideLayout" Target="../slideLayouts/slideLayout303.xml"/><Relationship Id="rId22" Type="http://schemas.openxmlformats.org/officeDocument/2006/relationships/slideLayout" Target="../slideLayouts/slideLayout311.xml"/><Relationship Id="rId27" Type="http://schemas.openxmlformats.org/officeDocument/2006/relationships/slideLayout" Target="../slideLayouts/slideLayout3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5.xml"/><Relationship Id="rId13" Type="http://schemas.openxmlformats.org/officeDocument/2006/relationships/slideLayout" Target="../slideLayouts/slideLayout330.xml"/><Relationship Id="rId18" Type="http://schemas.openxmlformats.org/officeDocument/2006/relationships/slideLayout" Target="../slideLayouts/slideLayout335.xml"/><Relationship Id="rId26" Type="http://schemas.openxmlformats.org/officeDocument/2006/relationships/slideLayout" Target="../slideLayouts/slideLayout343.xml"/><Relationship Id="rId3" Type="http://schemas.openxmlformats.org/officeDocument/2006/relationships/slideLayout" Target="../slideLayouts/slideLayout320.xml"/><Relationship Id="rId21" Type="http://schemas.openxmlformats.org/officeDocument/2006/relationships/slideLayout" Target="../slideLayouts/slideLayout338.xml"/><Relationship Id="rId7" Type="http://schemas.openxmlformats.org/officeDocument/2006/relationships/slideLayout" Target="../slideLayouts/slideLayout324.xml"/><Relationship Id="rId12" Type="http://schemas.openxmlformats.org/officeDocument/2006/relationships/slideLayout" Target="../slideLayouts/slideLayout329.xml"/><Relationship Id="rId17" Type="http://schemas.openxmlformats.org/officeDocument/2006/relationships/slideLayout" Target="../slideLayouts/slideLayout334.xml"/><Relationship Id="rId25" Type="http://schemas.openxmlformats.org/officeDocument/2006/relationships/slideLayout" Target="../slideLayouts/slideLayout342.xml"/><Relationship Id="rId2" Type="http://schemas.openxmlformats.org/officeDocument/2006/relationships/slideLayout" Target="../slideLayouts/slideLayout319.xml"/><Relationship Id="rId16" Type="http://schemas.openxmlformats.org/officeDocument/2006/relationships/slideLayout" Target="../slideLayouts/slideLayout333.xml"/><Relationship Id="rId20" Type="http://schemas.openxmlformats.org/officeDocument/2006/relationships/slideLayout" Target="../slideLayouts/slideLayout337.xml"/><Relationship Id="rId29" Type="http://schemas.openxmlformats.org/officeDocument/2006/relationships/theme" Target="../theme/theme13.xml"/><Relationship Id="rId1" Type="http://schemas.openxmlformats.org/officeDocument/2006/relationships/slideLayout" Target="../slideLayouts/slideLayout318.xml"/><Relationship Id="rId6" Type="http://schemas.openxmlformats.org/officeDocument/2006/relationships/slideLayout" Target="../slideLayouts/slideLayout323.xml"/><Relationship Id="rId11" Type="http://schemas.openxmlformats.org/officeDocument/2006/relationships/slideLayout" Target="../slideLayouts/slideLayout328.xml"/><Relationship Id="rId24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22.xml"/><Relationship Id="rId15" Type="http://schemas.openxmlformats.org/officeDocument/2006/relationships/slideLayout" Target="../slideLayouts/slideLayout332.xml"/><Relationship Id="rId23" Type="http://schemas.openxmlformats.org/officeDocument/2006/relationships/slideLayout" Target="../slideLayouts/slideLayout340.xml"/><Relationship Id="rId28" Type="http://schemas.openxmlformats.org/officeDocument/2006/relationships/slideLayout" Target="../slideLayouts/slideLayout345.xml"/><Relationship Id="rId10" Type="http://schemas.openxmlformats.org/officeDocument/2006/relationships/slideLayout" Target="../slideLayouts/slideLayout327.xml"/><Relationship Id="rId19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21.xml"/><Relationship Id="rId9" Type="http://schemas.openxmlformats.org/officeDocument/2006/relationships/slideLayout" Target="../slideLayouts/slideLayout326.xml"/><Relationship Id="rId14" Type="http://schemas.openxmlformats.org/officeDocument/2006/relationships/slideLayout" Target="../slideLayouts/slideLayout331.xml"/><Relationship Id="rId22" Type="http://schemas.openxmlformats.org/officeDocument/2006/relationships/slideLayout" Target="../slideLayouts/slideLayout339.xml"/><Relationship Id="rId27" Type="http://schemas.openxmlformats.org/officeDocument/2006/relationships/slideLayout" Target="../slideLayouts/slideLayout344.xml"/></Relationships>
</file>

<file path=ppt/slideMasters/_rels/slideMaster1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1.xml"/><Relationship Id="rId21" Type="http://schemas.openxmlformats.org/officeDocument/2006/relationships/slideLayout" Target="../slideLayouts/slideLayout366.xml"/><Relationship Id="rId42" Type="http://schemas.openxmlformats.org/officeDocument/2006/relationships/slideLayout" Target="../slideLayouts/slideLayout387.xml"/><Relationship Id="rId47" Type="http://schemas.openxmlformats.org/officeDocument/2006/relationships/slideLayout" Target="../slideLayouts/slideLayout392.xml"/><Relationship Id="rId63" Type="http://schemas.openxmlformats.org/officeDocument/2006/relationships/slideLayout" Target="../slideLayouts/slideLayout408.xml"/><Relationship Id="rId68" Type="http://schemas.openxmlformats.org/officeDocument/2006/relationships/slideLayout" Target="../slideLayouts/slideLayout413.xml"/><Relationship Id="rId84" Type="http://schemas.openxmlformats.org/officeDocument/2006/relationships/slideLayout" Target="../slideLayouts/slideLayout429.xml"/><Relationship Id="rId89" Type="http://schemas.openxmlformats.org/officeDocument/2006/relationships/slideLayout" Target="../slideLayouts/slideLayout434.xml"/><Relationship Id="rId112" Type="http://schemas.openxmlformats.org/officeDocument/2006/relationships/tags" Target="../tags/tag1.xml"/><Relationship Id="rId16" Type="http://schemas.openxmlformats.org/officeDocument/2006/relationships/slideLayout" Target="../slideLayouts/slideLayout361.xml"/><Relationship Id="rId107" Type="http://schemas.openxmlformats.org/officeDocument/2006/relationships/slideLayout" Target="../slideLayouts/slideLayout452.xml"/><Relationship Id="rId11" Type="http://schemas.openxmlformats.org/officeDocument/2006/relationships/slideLayout" Target="../slideLayouts/slideLayout356.xml"/><Relationship Id="rId32" Type="http://schemas.openxmlformats.org/officeDocument/2006/relationships/slideLayout" Target="../slideLayouts/slideLayout377.xml"/><Relationship Id="rId37" Type="http://schemas.openxmlformats.org/officeDocument/2006/relationships/slideLayout" Target="../slideLayouts/slideLayout382.xml"/><Relationship Id="rId53" Type="http://schemas.openxmlformats.org/officeDocument/2006/relationships/slideLayout" Target="../slideLayouts/slideLayout398.xml"/><Relationship Id="rId58" Type="http://schemas.openxmlformats.org/officeDocument/2006/relationships/slideLayout" Target="../slideLayouts/slideLayout403.xml"/><Relationship Id="rId74" Type="http://schemas.openxmlformats.org/officeDocument/2006/relationships/slideLayout" Target="../slideLayouts/slideLayout419.xml"/><Relationship Id="rId79" Type="http://schemas.openxmlformats.org/officeDocument/2006/relationships/slideLayout" Target="../slideLayouts/slideLayout424.xml"/><Relationship Id="rId102" Type="http://schemas.openxmlformats.org/officeDocument/2006/relationships/slideLayout" Target="../slideLayouts/slideLayout447.xml"/><Relationship Id="rId5" Type="http://schemas.openxmlformats.org/officeDocument/2006/relationships/slideLayout" Target="../slideLayouts/slideLayout350.xml"/><Relationship Id="rId90" Type="http://schemas.openxmlformats.org/officeDocument/2006/relationships/slideLayout" Target="../slideLayouts/slideLayout435.xml"/><Relationship Id="rId95" Type="http://schemas.openxmlformats.org/officeDocument/2006/relationships/slideLayout" Target="../slideLayouts/slideLayout440.xml"/><Relationship Id="rId22" Type="http://schemas.openxmlformats.org/officeDocument/2006/relationships/slideLayout" Target="../slideLayouts/slideLayout367.xml"/><Relationship Id="rId27" Type="http://schemas.openxmlformats.org/officeDocument/2006/relationships/slideLayout" Target="../slideLayouts/slideLayout372.xml"/><Relationship Id="rId43" Type="http://schemas.openxmlformats.org/officeDocument/2006/relationships/slideLayout" Target="../slideLayouts/slideLayout388.xml"/><Relationship Id="rId48" Type="http://schemas.openxmlformats.org/officeDocument/2006/relationships/slideLayout" Target="../slideLayouts/slideLayout393.xml"/><Relationship Id="rId64" Type="http://schemas.openxmlformats.org/officeDocument/2006/relationships/slideLayout" Target="../slideLayouts/slideLayout409.xml"/><Relationship Id="rId69" Type="http://schemas.openxmlformats.org/officeDocument/2006/relationships/slideLayout" Target="../slideLayouts/slideLayout414.xml"/><Relationship Id="rId113" Type="http://schemas.openxmlformats.org/officeDocument/2006/relationships/oleObject" Target="../embeddings/oleObject1.bin"/><Relationship Id="rId80" Type="http://schemas.openxmlformats.org/officeDocument/2006/relationships/slideLayout" Target="../slideLayouts/slideLayout425.xml"/><Relationship Id="rId85" Type="http://schemas.openxmlformats.org/officeDocument/2006/relationships/slideLayout" Target="../slideLayouts/slideLayout430.xml"/><Relationship Id="rId12" Type="http://schemas.openxmlformats.org/officeDocument/2006/relationships/slideLayout" Target="../slideLayouts/slideLayout357.xml"/><Relationship Id="rId17" Type="http://schemas.openxmlformats.org/officeDocument/2006/relationships/slideLayout" Target="../slideLayouts/slideLayout362.xml"/><Relationship Id="rId33" Type="http://schemas.openxmlformats.org/officeDocument/2006/relationships/slideLayout" Target="../slideLayouts/slideLayout378.xml"/><Relationship Id="rId38" Type="http://schemas.openxmlformats.org/officeDocument/2006/relationships/slideLayout" Target="../slideLayouts/slideLayout383.xml"/><Relationship Id="rId59" Type="http://schemas.openxmlformats.org/officeDocument/2006/relationships/slideLayout" Target="../slideLayouts/slideLayout404.xml"/><Relationship Id="rId103" Type="http://schemas.openxmlformats.org/officeDocument/2006/relationships/slideLayout" Target="../slideLayouts/slideLayout448.xml"/><Relationship Id="rId108" Type="http://schemas.openxmlformats.org/officeDocument/2006/relationships/slideLayout" Target="../slideLayouts/slideLayout453.xml"/><Relationship Id="rId54" Type="http://schemas.openxmlformats.org/officeDocument/2006/relationships/slideLayout" Target="../slideLayouts/slideLayout399.xml"/><Relationship Id="rId70" Type="http://schemas.openxmlformats.org/officeDocument/2006/relationships/slideLayout" Target="../slideLayouts/slideLayout415.xml"/><Relationship Id="rId75" Type="http://schemas.openxmlformats.org/officeDocument/2006/relationships/slideLayout" Target="../slideLayouts/slideLayout420.xml"/><Relationship Id="rId91" Type="http://schemas.openxmlformats.org/officeDocument/2006/relationships/slideLayout" Target="../slideLayouts/slideLayout436.xml"/><Relationship Id="rId96" Type="http://schemas.openxmlformats.org/officeDocument/2006/relationships/slideLayout" Target="../slideLayouts/slideLayout441.xml"/><Relationship Id="rId1" Type="http://schemas.openxmlformats.org/officeDocument/2006/relationships/slideLayout" Target="../slideLayouts/slideLayout346.xml"/><Relationship Id="rId6" Type="http://schemas.openxmlformats.org/officeDocument/2006/relationships/slideLayout" Target="../slideLayouts/slideLayout351.xml"/><Relationship Id="rId15" Type="http://schemas.openxmlformats.org/officeDocument/2006/relationships/slideLayout" Target="../slideLayouts/slideLayout360.xml"/><Relationship Id="rId23" Type="http://schemas.openxmlformats.org/officeDocument/2006/relationships/slideLayout" Target="../slideLayouts/slideLayout368.xml"/><Relationship Id="rId28" Type="http://schemas.openxmlformats.org/officeDocument/2006/relationships/slideLayout" Target="../slideLayouts/slideLayout373.xml"/><Relationship Id="rId36" Type="http://schemas.openxmlformats.org/officeDocument/2006/relationships/slideLayout" Target="../slideLayouts/slideLayout381.xml"/><Relationship Id="rId49" Type="http://schemas.openxmlformats.org/officeDocument/2006/relationships/slideLayout" Target="../slideLayouts/slideLayout394.xml"/><Relationship Id="rId57" Type="http://schemas.openxmlformats.org/officeDocument/2006/relationships/slideLayout" Target="../slideLayouts/slideLayout402.xml"/><Relationship Id="rId106" Type="http://schemas.openxmlformats.org/officeDocument/2006/relationships/slideLayout" Target="../slideLayouts/slideLayout451.xml"/><Relationship Id="rId114" Type="http://schemas.openxmlformats.org/officeDocument/2006/relationships/image" Target="../media/image18.emf"/><Relationship Id="rId10" Type="http://schemas.openxmlformats.org/officeDocument/2006/relationships/slideLayout" Target="../slideLayouts/slideLayout355.xml"/><Relationship Id="rId31" Type="http://schemas.openxmlformats.org/officeDocument/2006/relationships/slideLayout" Target="../slideLayouts/slideLayout376.xml"/><Relationship Id="rId44" Type="http://schemas.openxmlformats.org/officeDocument/2006/relationships/slideLayout" Target="../slideLayouts/slideLayout389.xml"/><Relationship Id="rId52" Type="http://schemas.openxmlformats.org/officeDocument/2006/relationships/slideLayout" Target="../slideLayouts/slideLayout397.xml"/><Relationship Id="rId60" Type="http://schemas.openxmlformats.org/officeDocument/2006/relationships/slideLayout" Target="../slideLayouts/slideLayout405.xml"/><Relationship Id="rId65" Type="http://schemas.openxmlformats.org/officeDocument/2006/relationships/slideLayout" Target="../slideLayouts/slideLayout410.xml"/><Relationship Id="rId73" Type="http://schemas.openxmlformats.org/officeDocument/2006/relationships/slideLayout" Target="../slideLayouts/slideLayout418.xml"/><Relationship Id="rId78" Type="http://schemas.openxmlformats.org/officeDocument/2006/relationships/slideLayout" Target="../slideLayouts/slideLayout423.xml"/><Relationship Id="rId81" Type="http://schemas.openxmlformats.org/officeDocument/2006/relationships/slideLayout" Target="../slideLayouts/slideLayout426.xml"/><Relationship Id="rId86" Type="http://schemas.openxmlformats.org/officeDocument/2006/relationships/slideLayout" Target="../slideLayouts/slideLayout431.xml"/><Relationship Id="rId94" Type="http://schemas.openxmlformats.org/officeDocument/2006/relationships/slideLayout" Target="../slideLayouts/slideLayout439.xml"/><Relationship Id="rId99" Type="http://schemas.openxmlformats.org/officeDocument/2006/relationships/slideLayout" Target="../slideLayouts/slideLayout444.xml"/><Relationship Id="rId101" Type="http://schemas.openxmlformats.org/officeDocument/2006/relationships/slideLayout" Target="../slideLayouts/slideLayout446.xml"/><Relationship Id="rId4" Type="http://schemas.openxmlformats.org/officeDocument/2006/relationships/slideLayout" Target="../slideLayouts/slideLayout349.xml"/><Relationship Id="rId9" Type="http://schemas.openxmlformats.org/officeDocument/2006/relationships/slideLayout" Target="../slideLayouts/slideLayout354.xml"/><Relationship Id="rId13" Type="http://schemas.openxmlformats.org/officeDocument/2006/relationships/slideLayout" Target="../slideLayouts/slideLayout358.xml"/><Relationship Id="rId18" Type="http://schemas.openxmlformats.org/officeDocument/2006/relationships/slideLayout" Target="../slideLayouts/slideLayout363.xml"/><Relationship Id="rId39" Type="http://schemas.openxmlformats.org/officeDocument/2006/relationships/slideLayout" Target="../slideLayouts/slideLayout384.xml"/><Relationship Id="rId109" Type="http://schemas.openxmlformats.org/officeDocument/2006/relationships/slideLayout" Target="../slideLayouts/slideLayout454.xml"/><Relationship Id="rId34" Type="http://schemas.openxmlformats.org/officeDocument/2006/relationships/slideLayout" Target="../slideLayouts/slideLayout379.xml"/><Relationship Id="rId50" Type="http://schemas.openxmlformats.org/officeDocument/2006/relationships/slideLayout" Target="../slideLayouts/slideLayout395.xml"/><Relationship Id="rId55" Type="http://schemas.openxmlformats.org/officeDocument/2006/relationships/slideLayout" Target="../slideLayouts/slideLayout400.xml"/><Relationship Id="rId76" Type="http://schemas.openxmlformats.org/officeDocument/2006/relationships/slideLayout" Target="../slideLayouts/slideLayout421.xml"/><Relationship Id="rId97" Type="http://schemas.openxmlformats.org/officeDocument/2006/relationships/slideLayout" Target="../slideLayouts/slideLayout442.xml"/><Relationship Id="rId104" Type="http://schemas.openxmlformats.org/officeDocument/2006/relationships/slideLayout" Target="../slideLayouts/slideLayout449.xml"/><Relationship Id="rId7" Type="http://schemas.openxmlformats.org/officeDocument/2006/relationships/slideLayout" Target="../slideLayouts/slideLayout352.xml"/><Relationship Id="rId71" Type="http://schemas.openxmlformats.org/officeDocument/2006/relationships/slideLayout" Target="../slideLayouts/slideLayout416.xml"/><Relationship Id="rId92" Type="http://schemas.openxmlformats.org/officeDocument/2006/relationships/slideLayout" Target="../slideLayouts/slideLayout437.xml"/><Relationship Id="rId2" Type="http://schemas.openxmlformats.org/officeDocument/2006/relationships/slideLayout" Target="../slideLayouts/slideLayout347.xml"/><Relationship Id="rId29" Type="http://schemas.openxmlformats.org/officeDocument/2006/relationships/slideLayout" Target="../slideLayouts/slideLayout374.xml"/><Relationship Id="rId24" Type="http://schemas.openxmlformats.org/officeDocument/2006/relationships/slideLayout" Target="../slideLayouts/slideLayout369.xml"/><Relationship Id="rId40" Type="http://schemas.openxmlformats.org/officeDocument/2006/relationships/slideLayout" Target="../slideLayouts/slideLayout385.xml"/><Relationship Id="rId45" Type="http://schemas.openxmlformats.org/officeDocument/2006/relationships/slideLayout" Target="../slideLayouts/slideLayout390.xml"/><Relationship Id="rId66" Type="http://schemas.openxmlformats.org/officeDocument/2006/relationships/slideLayout" Target="../slideLayouts/slideLayout411.xml"/><Relationship Id="rId87" Type="http://schemas.openxmlformats.org/officeDocument/2006/relationships/slideLayout" Target="../slideLayouts/slideLayout432.xml"/><Relationship Id="rId110" Type="http://schemas.openxmlformats.org/officeDocument/2006/relationships/theme" Target="../theme/theme14.xml"/><Relationship Id="rId61" Type="http://schemas.openxmlformats.org/officeDocument/2006/relationships/slideLayout" Target="../slideLayouts/slideLayout406.xml"/><Relationship Id="rId82" Type="http://schemas.openxmlformats.org/officeDocument/2006/relationships/slideLayout" Target="../slideLayouts/slideLayout427.xml"/><Relationship Id="rId19" Type="http://schemas.openxmlformats.org/officeDocument/2006/relationships/slideLayout" Target="../slideLayouts/slideLayout364.xml"/><Relationship Id="rId14" Type="http://schemas.openxmlformats.org/officeDocument/2006/relationships/slideLayout" Target="../slideLayouts/slideLayout359.xml"/><Relationship Id="rId30" Type="http://schemas.openxmlformats.org/officeDocument/2006/relationships/slideLayout" Target="../slideLayouts/slideLayout375.xml"/><Relationship Id="rId35" Type="http://schemas.openxmlformats.org/officeDocument/2006/relationships/slideLayout" Target="../slideLayouts/slideLayout380.xml"/><Relationship Id="rId56" Type="http://schemas.openxmlformats.org/officeDocument/2006/relationships/slideLayout" Target="../slideLayouts/slideLayout401.xml"/><Relationship Id="rId77" Type="http://schemas.openxmlformats.org/officeDocument/2006/relationships/slideLayout" Target="../slideLayouts/slideLayout422.xml"/><Relationship Id="rId100" Type="http://schemas.openxmlformats.org/officeDocument/2006/relationships/slideLayout" Target="../slideLayouts/slideLayout445.xml"/><Relationship Id="rId105" Type="http://schemas.openxmlformats.org/officeDocument/2006/relationships/slideLayout" Target="../slideLayouts/slideLayout450.xml"/><Relationship Id="rId8" Type="http://schemas.openxmlformats.org/officeDocument/2006/relationships/slideLayout" Target="../slideLayouts/slideLayout353.xml"/><Relationship Id="rId51" Type="http://schemas.openxmlformats.org/officeDocument/2006/relationships/slideLayout" Target="../slideLayouts/slideLayout396.xml"/><Relationship Id="rId72" Type="http://schemas.openxmlformats.org/officeDocument/2006/relationships/slideLayout" Target="../slideLayouts/slideLayout417.xml"/><Relationship Id="rId93" Type="http://schemas.openxmlformats.org/officeDocument/2006/relationships/slideLayout" Target="../slideLayouts/slideLayout438.xml"/><Relationship Id="rId98" Type="http://schemas.openxmlformats.org/officeDocument/2006/relationships/slideLayout" Target="../slideLayouts/slideLayout443.xml"/><Relationship Id="rId3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70.xml"/><Relationship Id="rId46" Type="http://schemas.openxmlformats.org/officeDocument/2006/relationships/slideLayout" Target="../slideLayouts/slideLayout391.xml"/><Relationship Id="rId67" Type="http://schemas.openxmlformats.org/officeDocument/2006/relationships/slideLayout" Target="../slideLayouts/slideLayout412.xml"/><Relationship Id="rId20" Type="http://schemas.openxmlformats.org/officeDocument/2006/relationships/slideLayout" Target="../slideLayouts/slideLayout365.xml"/><Relationship Id="rId41" Type="http://schemas.openxmlformats.org/officeDocument/2006/relationships/slideLayout" Target="../slideLayouts/slideLayout386.xml"/><Relationship Id="rId62" Type="http://schemas.openxmlformats.org/officeDocument/2006/relationships/slideLayout" Target="../slideLayouts/slideLayout407.xml"/><Relationship Id="rId83" Type="http://schemas.openxmlformats.org/officeDocument/2006/relationships/slideLayout" Target="../slideLayouts/slideLayout428.xml"/><Relationship Id="rId88" Type="http://schemas.openxmlformats.org/officeDocument/2006/relationships/slideLayout" Target="../slideLayouts/slideLayout433.xml"/><Relationship Id="rId111" Type="http://schemas.openxmlformats.org/officeDocument/2006/relationships/vmlDrawing" Target="../drawings/vmlDrawing1.v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2.x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457.xml"/><Relationship Id="rId7" Type="http://schemas.openxmlformats.org/officeDocument/2006/relationships/slideLayout" Target="../slideLayouts/slideLayout461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456.xml"/><Relationship Id="rId1" Type="http://schemas.openxmlformats.org/officeDocument/2006/relationships/slideLayout" Target="../slideLayouts/slideLayout455.xml"/><Relationship Id="rId6" Type="http://schemas.openxmlformats.org/officeDocument/2006/relationships/slideLayout" Target="../slideLayouts/slideLayout460.xml"/><Relationship Id="rId11" Type="http://schemas.openxmlformats.org/officeDocument/2006/relationships/slideLayout" Target="../slideLayouts/slideLayout465.xml"/><Relationship Id="rId5" Type="http://schemas.openxmlformats.org/officeDocument/2006/relationships/slideLayout" Target="../slideLayouts/slideLayout459.xml"/><Relationship Id="rId10" Type="http://schemas.openxmlformats.org/officeDocument/2006/relationships/slideLayout" Target="../slideLayouts/slideLayout464.xml"/><Relationship Id="rId4" Type="http://schemas.openxmlformats.org/officeDocument/2006/relationships/slideLayout" Target="../slideLayouts/slideLayout458.xml"/><Relationship Id="rId9" Type="http://schemas.openxmlformats.org/officeDocument/2006/relationships/slideLayout" Target="../slideLayouts/slideLayout463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8.xml"/><Relationship Id="rId18" Type="http://schemas.openxmlformats.org/officeDocument/2006/relationships/slideLayout" Target="../slideLayouts/slideLayout483.xml"/><Relationship Id="rId26" Type="http://schemas.openxmlformats.org/officeDocument/2006/relationships/slideLayout" Target="../slideLayouts/slideLayout491.xml"/><Relationship Id="rId3" Type="http://schemas.openxmlformats.org/officeDocument/2006/relationships/slideLayout" Target="../slideLayouts/slideLayout468.xml"/><Relationship Id="rId21" Type="http://schemas.openxmlformats.org/officeDocument/2006/relationships/slideLayout" Target="../slideLayouts/slideLayout486.xml"/><Relationship Id="rId34" Type="http://schemas.openxmlformats.org/officeDocument/2006/relationships/theme" Target="../theme/theme16.xml"/><Relationship Id="rId7" Type="http://schemas.openxmlformats.org/officeDocument/2006/relationships/slideLayout" Target="../slideLayouts/slideLayout472.xml"/><Relationship Id="rId12" Type="http://schemas.openxmlformats.org/officeDocument/2006/relationships/slideLayout" Target="../slideLayouts/slideLayout477.xml"/><Relationship Id="rId17" Type="http://schemas.openxmlformats.org/officeDocument/2006/relationships/slideLayout" Target="../slideLayouts/slideLayout482.xml"/><Relationship Id="rId25" Type="http://schemas.openxmlformats.org/officeDocument/2006/relationships/slideLayout" Target="../slideLayouts/slideLayout490.xml"/><Relationship Id="rId33" Type="http://schemas.openxmlformats.org/officeDocument/2006/relationships/slideLayout" Target="../slideLayouts/slideLayout498.xml"/><Relationship Id="rId2" Type="http://schemas.openxmlformats.org/officeDocument/2006/relationships/slideLayout" Target="../slideLayouts/slideLayout467.xml"/><Relationship Id="rId16" Type="http://schemas.openxmlformats.org/officeDocument/2006/relationships/slideLayout" Target="../slideLayouts/slideLayout481.xml"/><Relationship Id="rId20" Type="http://schemas.openxmlformats.org/officeDocument/2006/relationships/slideLayout" Target="../slideLayouts/slideLayout485.xml"/><Relationship Id="rId29" Type="http://schemas.openxmlformats.org/officeDocument/2006/relationships/slideLayout" Target="../slideLayouts/slideLayout494.xml"/><Relationship Id="rId1" Type="http://schemas.openxmlformats.org/officeDocument/2006/relationships/slideLayout" Target="../slideLayouts/slideLayout466.xml"/><Relationship Id="rId6" Type="http://schemas.openxmlformats.org/officeDocument/2006/relationships/slideLayout" Target="../slideLayouts/slideLayout471.xml"/><Relationship Id="rId11" Type="http://schemas.openxmlformats.org/officeDocument/2006/relationships/slideLayout" Target="../slideLayouts/slideLayout476.xml"/><Relationship Id="rId24" Type="http://schemas.openxmlformats.org/officeDocument/2006/relationships/slideLayout" Target="../slideLayouts/slideLayout489.xml"/><Relationship Id="rId32" Type="http://schemas.openxmlformats.org/officeDocument/2006/relationships/slideLayout" Target="../slideLayouts/slideLayout497.xml"/><Relationship Id="rId5" Type="http://schemas.openxmlformats.org/officeDocument/2006/relationships/slideLayout" Target="../slideLayouts/slideLayout470.xml"/><Relationship Id="rId15" Type="http://schemas.openxmlformats.org/officeDocument/2006/relationships/slideLayout" Target="../slideLayouts/slideLayout480.xml"/><Relationship Id="rId23" Type="http://schemas.openxmlformats.org/officeDocument/2006/relationships/slideLayout" Target="../slideLayouts/slideLayout488.xml"/><Relationship Id="rId28" Type="http://schemas.openxmlformats.org/officeDocument/2006/relationships/slideLayout" Target="../slideLayouts/slideLayout493.xml"/><Relationship Id="rId10" Type="http://schemas.openxmlformats.org/officeDocument/2006/relationships/slideLayout" Target="../slideLayouts/slideLayout475.xml"/><Relationship Id="rId19" Type="http://schemas.openxmlformats.org/officeDocument/2006/relationships/slideLayout" Target="../slideLayouts/slideLayout484.xml"/><Relationship Id="rId31" Type="http://schemas.openxmlformats.org/officeDocument/2006/relationships/slideLayout" Target="../slideLayouts/slideLayout496.xml"/><Relationship Id="rId4" Type="http://schemas.openxmlformats.org/officeDocument/2006/relationships/slideLayout" Target="../slideLayouts/slideLayout469.xml"/><Relationship Id="rId9" Type="http://schemas.openxmlformats.org/officeDocument/2006/relationships/slideLayout" Target="../slideLayouts/slideLayout474.xml"/><Relationship Id="rId14" Type="http://schemas.openxmlformats.org/officeDocument/2006/relationships/slideLayout" Target="../slideLayouts/slideLayout479.xml"/><Relationship Id="rId22" Type="http://schemas.openxmlformats.org/officeDocument/2006/relationships/slideLayout" Target="../slideLayouts/slideLayout487.xml"/><Relationship Id="rId27" Type="http://schemas.openxmlformats.org/officeDocument/2006/relationships/slideLayout" Target="../slideLayouts/slideLayout492.xml"/><Relationship Id="rId30" Type="http://schemas.openxmlformats.org/officeDocument/2006/relationships/slideLayout" Target="../slideLayouts/slideLayout495.xml"/><Relationship Id="rId8" Type="http://schemas.openxmlformats.org/officeDocument/2006/relationships/slideLayout" Target="../slideLayouts/slideLayout473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1.xml"/><Relationship Id="rId18" Type="http://schemas.openxmlformats.org/officeDocument/2006/relationships/slideLayout" Target="../slideLayouts/slideLayout516.xml"/><Relationship Id="rId26" Type="http://schemas.openxmlformats.org/officeDocument/2006/relationships/slideLayout" Target="../slideLayouts/slideLayout524.xml"/><Relationship Id="rId3" Type="http://schemas.openxmlformats.org/officeDocument/2006/relationships/slideLayout" Target="../slideLayouts/slideLayout501.xml"/><Relationship Id="rId21" Type="http://schemas.openxmlformats.org/officeDocument/2006/relationships/slideLayout" Target="../slideLayouts/slideLayout519.xml"/><Relationship Id="rId34" Type="http://schemas.openxmlformats.org/officeDocument/2006/relationships/theme" Target="../theme/theme17.xml"/><Relationship Id="rId7" Type="http://schemas.openxmlformats.org/officeDocument/2006/relationships/slideLayout" Target="../slideLayouts/slideLayout505.xml"/><Relationship Id="rId12" Type="http://schemas.openxmlformats.org/officeDocument/2006/relationships/slideLayout" Target="../slideLayouts/slideLayout510.xml"/><Relationship Id="rId17" Type="http://schemas.openxmlformats.org/officeDocument/2006/relationships/slideLayout" Target="../slideLayouts/slideLayout515.xml"/><Relationship Id="rId25" Type="http://schemas.openxmlformats.org/officeDocument/2006/relationships/slideLayout" Target="../slideLayouts/slideLayout523.xml"/><Relationship Id="rId33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00.xml"/><Relationship Id="rId16" Type="http://schemas.openxmlformats.org/officeDocument/2006/relationships/slideLayout" Target="../slideLayouts/slideLayout514.xml"/><Relationship Id="rId20" Type="http://schemas.openxmlformats.org/officeDocument/2006/relationships/slideLayout" Target="../slideLayouts/slideLayout518.xml"/><Relationship Id="rId29" Type="http://schemas.openxmlformats.org/officeDocument/2006/relationships/slideLayout" Target="../slideLayouts/slideLayout527.xml"/><Relationship Id="rId1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4.xml"/><Relationship Id="rId11" Type="http://schemas.openxmlformats.org/officeDocument/2006/relationships/slideLayout" Target="../slideLayouts/slideLayout509.xml"/><Relationship Id="rId24" Type="http://schemas.openxmlformats.org/officeDocument/2006/relationships/slideLayout" Target="../slideLayouts/slideLayout522.xml"/><Relationship Id="rId32" Type="http://schemas.openxmlformats.org/officeDocument/2006/relationships/slideLayout" Target="../slideLayouts/slideLayout530.xml"/><Relationship Id="rId5" Type="http://schemas.openxmlformats.org/officeDocument/2006/relationships/slideLayout" Target="../slideLayouts/slideLayout503.xml"/><Relationship Id="rId15" Type="http://schemas.openxmlformats.org/officeDocument/2006/relationships/slideLayout" Target="../slideLayouts/slideLayout513.xml"/><Relationship Id="rId23" Type="http://schemas.openxmlformats.org/officeDocument/2006/relationships/slideLayout" Target="../slideLayouts/slideLayout521.xml"/><Relationship Id="rId28" Type="http://schemas.openxmlformats.org/officeDocument/2006/relationships/slideLayout" Target="../slideLayouts/slideLayout526.xml"/><Relationship Id="rId10" Type="http://schemas.openxmlformats.org/officeDocument/2006/relationships/slideLayout" Target="../slideLayouts/slideLayout508.xml"/><Relationship Id="rId19" Type="http://schemas.openxmlformats.org/officeDocument/2006/relationships/slideLayout" Target="../slideLayouts/slideLayout517.xml"/><Relationship Id="rId31" Type="http://schemas.openxmlformats.org/officeDocument/2006/relationships/slideLayout" Target="../slideLayouts/slideLayout529.xml"/><Relationship Id="rId4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7.xml"/><Relationship Id="rId14" Type="http://schemas.openxmlformats.org/officeDocument/2006/relationships/slideLayout" Target="../slideLayouts/slideLayout512.xml"/><Relationship Id="rId22" Type="http://schemas.openxmlformats.org/officeDocument/2006/relationships/slideLayout" Target="../slideLayouts/slideLayout520.xml"/><Relationship Id="rId27" Type="http://schemas.openxmlformats.org/officeDocument/2006/relationships/slideLayout" Target="../slideLayouts/slideLayout525.xml"/><Relationship Id="rId30" Type="http://schemas.openxmlformats.org/officeDocument/2006/relationships/slideLayout" Target="../slideLayouts/slideLayout528.xml"/><Relationship Id="rId8" Type="http://schemas.openxmlformats.org/officeDocument/2006/relationships/slideLayout" Target="../slideLayouts/slideLayout50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8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26" Type="http://schemas.openxmlformats.org/officeDocument/2006/relationships/slideLayout" Target="../slideLayouts/slideLayout87.xml"/><Relationship Id="rId3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82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90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31" Type="http://schemas.openxmlformats.org/officeDocument/2006/relationships/slideLayout" Target="../slideLayouts/slideLayout92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8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28" Type="http://schemas.openxmlformats.org/officeDocument/2006/relationships/slideLayout" Target="../slideLayouts/slideLayout121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slideLayout" Target="../slideLayouts/slideLayout120.xml"/><Relationship Id="rId30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5.xml"/><Relationship Id="rId18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65.xml"/><Relationship Id="rId21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69.xml"/><Relationship Id="rId12" Type="http://schemas.openxmlformats.org/officeDocument/2006/relationships/slideLayout" Target="../slideLayouts/slideLayout174.xml"/><Relationship Id="rId17" Type="http://schemas.openxmlformats.org/officeDocument/2006/relationships/slideLayout" Target="../slideLayouts/slideLayout179.xml"/><Relationship Id="rId25" Type="http://schemas.openxmlformats.org/officeDocument/2006/relationships/slideLayout" Target="../slideLayouts/slideLayout187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64.xml"/><Relationship Id="rId16" Type="http://schemas.openxmlformats.org/officeDocument/2006/relationships/slideLayout" Target="../slideLayouts/slideLayout178.xml"/><Relationship Id="rId20" Type="http://schemas.openxmlformats.org/officeDocument/2006/relationships/slideLayout" Target="../slideLayouts/slideLayout182.xml"/><Relationship Id="rId29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63.xml"/><Relationship Id="rId6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173.xml"/><Relationship Id="rId24" Type="http://schemas.openxmlformats.org/officeDocument/2006/relationships/slideLayout" Target="../slideLayouts/slideLayout186.xml"/><Relationship Id="rId32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67.xml"/><Relationship Id="rId15" Type="http://schemas.openxmlformats.org/officeDocument/2006/relationships/slideLayout" Target="../slideLayouts/slideLayout177.xml"/><Relationship Id="rId23" Type="http://schemas.openxmlformats.org/officeDocument/2006/relationships/slideLayout" Target="../slideLayouts/slideLayout185.xml"/><Relationship Id="rId28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72.xml"/><Relationship Id="rId19" Type="http://schemas.openxmlformats.org/officeDocument/2006/relationships/slideLayout" Target="../slideLayouts/slideLayout181.xml"/><Relationship Id="rId31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66.xml"/><Relationship Id="rId9" Type="http://schemas.openxmlformats.org/officeDocument/2006/relationships/slideLayout" Target="../slideLayouts/slideLayout171.xml"/><Relationship Id="rId14" Type="http://schemas.openxmlformats.org/officeDocument/2006/relationships/slideLayout" Target="../slideLayouts/slideLayout176.xml"/><Relationship Id="rId22" Type="http://schemas.openxmlformats.org/officeDocument/2006/relationships/slideLayout" Target="../slideLayouts/slideLayout184.xml"/><Relationship Id="rId27" Type="http://schemas.openxmlformats.org/officeDocument/2006/relationships/slideLayout" Target="../slideLayouts/slideLayout189.xml"/><Relationship Id="rId30" Type="http://schemas.openxmlformats.org/officeDocument/2006/relationships/slideLayout" Target="../slideLayouts/slideLayout192.xml"/><Relationship Id="rId8" Type="http://schemas.openxmlformats.org/officeDocument/2006/relationships/slideLayout" Target="../slideLayouts/slideLayout1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26" Type="http://schemas.openxmlformats.org/officeDocument/2006/relationships/slideLayout" Target="../slideLayouts/slideLayout220.xml"/><Relationship Id="rId3" Type="http://schemas.openxmlformats.org/officeDocument/2006/relationships/slideLayout" Target="../slideLayouts/slideLayout197.xml"/><Relationship Id="rId21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29" Type="http://schemas.openxmlformats.org/officeDocument/2006/relationships/theme" Target="../theme/theme8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5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9" r:id="rId2"/>
    <p:sldLayoutId id="2147483657" r:id="rId3"/>
    <p:sldLayoutId id="2147483658" r:id="rId4"/>
    <p:sldLayoutId id="2147483668" r:id="rId5"/>
    <p:sldLayoutId id="2147483677" r:id="rId6"/>
    <p:sldLayoutId id="2147483680" r:id="rId7"/>
    <p:sldLayoutId id="2147483681" r:id="rId8"/>
    <p:sldLayoutId id="2147483675" r:id="rId9"/>
    <p:sldLayoutId id="2147483678" r:id="rId10"/>
    <p:sldLayoutId id="2147483682" r:id="rId11"/>
    <p:sldLayoutId id="2147483683" r:id="rId12"/>
    <p:sldLayoutId id="2147483685" r:id="rId13"/>
    <p:sldLayoutId id="2147483686" r:id="rId14"/>
    <p:sldLayoutId id="2147483687" r:id="rId15"/>
    <p:sldLayoutId id="2147483688" r:id="rId16"/>
    <p:sldLayoutId id="2147483669" r:id="rId17"/>
    <p:sldLayoutId id="2147483692" r:id="rId18"/>
    <p:sldLayoutId id="2147483676" r:id="rId19"/>
    <p:sldLayoutId id="2147483659" r:id="rId20"/>
    <p:sldLayoutId id="2147483689" r:id="rId21"/>
    <p:sldLayoutId id="2147483651" r:id="rId22"/>
    <p:sldLayoutId id="2147483691" r:id="rId23"/>
    <p:sldLayoutId id="2147483690" r:id="rId24"/>
    <p:sldLayoutId id="2147483684" r:id="rId25"/>
    <p:sldLayoutId id="2147483693" r:id="rId26"/>
    <p:sldLayoutId id="2147483695" r:id="rId27"/>
    <p:sldLayoutId id="2147483911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  <p:sldLayoutId id="2147483966" r:id="rId13"/>
    <p:sldLayoutId id="2147483967" r:id="rId14"/>
    <p:sldLayoutId id="2147483968" r:id="rId15"/>
    <p:sldLayoutId id="2147483969" r:id="rId16"/>
    <p:sldLayoutId id="2147483970" r:id="rId17"/>
    <p:sldLayoutId id="2147483971" r:id="rId18"/>
    <p:sldLayoutId id="2147483972" r:id="rId19"/>
    <p:sldLayoutId id="2147483973" r:id="rId20"/>
    <p:sldLayoutId id="2147483974" r:id="rId21"/>
    <p:sldLayoutId id="2147483975" r:id="rId22"/>
    <p:sldLayoutId id="2147483976" r:id="rId23"/>
    <p:sldLayoutId id="2147483977" r:id="rId24"/>
    <p:sldLayoutId id="2147483978" r:id="rId25"/>
    <p:sldLayoutId id="2147483979" r:id="rId26"/>
    <p:sldLayoutId id="2147483980" r:id="rId27"/>
    <p:sldLayoutId id="2147483981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  <p:sldLayoutId id="2147483986" r:id="rId4"/>
    <p:sldLayoutId id="2147483987" r:id="rId5"/>
    <p:sldLayoutId id="2147483988" r:id="rId6"/>
    <p:sldLayoutId id="2147483989" r:id="rId7"/>
    <p:sldLayoutId id="2147483990" r:id="rId8"/>
    <p:sldLayoutId id="2147483991" r:id="rId9"/>
    <p:sldLayoutId id="2147483992" r:id="rId10"/>
    <p:sldLayoutId id="2147483993" r:id="rId11"/>
    <p:sldLayoutId id="2147483994" r:id="rId12"/>
    <p:sldLayoutId id="2147483995" r:id="rId13"/>
    <p:sldLayoutId id="2147483996" r:id="rId14"/>
    <p:sldLayoutId id="2147483997" r:id="rId15"/>
    <p:sldLayoutId id="2147483998" r:id="rId16"/>
    <p:sldLayoutId id="2147483999" r:id="rId17"/>
    <p:sldLayoutId id="2147484000" r:id="rId18"/>
    <p:sldLayoutId id="2147484001" r:id="rId19"/>
    <p:sldLayoutId id="2147484002" r:id="rId20"/>
    <p:sldLayoutId id="2147484003" r:id="rId21"/>
    <p:sldLayoutId id="2147484004" r:id="rId22"/>
    <p:sldLayoutId id="2147484005" r:id="rId23"/>
    <p:sldLayoutId id="2147484006" r:id="rId24"/>
    <p:sldLayoutId id="2147484007" r:id="rId25"/>
    <p:sldLayoutId id="2147484008" r:id="rId26"/>
    <p:sldLayoutId id="2147484009" r:id="rId27"/>
    <p:sldLayoutId id="2147484010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16" r:id="rId5"/>
    <p:sldLayoutId id="2147484017" r:id="rId6"/>
    <p:sldLayoutId id="2147484018" r:id="rId7"/>
    <p:sldLayoutId id="2147484019" r:id="rId8"/>
    <p:sldLayoutId id="2147484020" r:id="rId9"/>
    <p:sldLayoutId id="2147484021" r:id="rId10"/>
    <p:sldLayoutId id="2147484022" r:id="rId11"/>
    <p:sldLayoutId id="2147484023" r:id="rId12"/>
    <p:sldLayoutId id="2147484024" r:id="rId13"/>
    <p:sldLayoutId id="2147484025" r:id="rId14"/>
    <p:sldLayoutId id="2147484026" r:id="rId15"/>
    <p:sldLayoutId id="2147484027" r:id="rId16"/>
    <p:sldLayoutId id="2147484028" r:id="rId17"/>
    <p:sldLayoutId id="2147484029" r:id="rId18"/>
    <p:sldLayoutId id="2147484030" r:id="rId19"/>
    <p:sldLayoutId id="2147484031" r:id="rId20"/>
    <p:sldLayoutId id="2147484032" r:id="rId21"/>
    <p:sldLayoutId id="2147484033" r:id="rId22"/>
    <p:sldLayoutId id="2147484034" r:id="rId23"/>
    <p:sldLayoutId id="2147484035" r:id="rId24"/>
    <p:sldLayoutId id="2147484036" r:id="rId25"/>
    <p:sldLayoutId id="2147484037" r:id="rId26"/>
    <p:sldLayoutId id="2147484038" r:id="rId27"/>
    <p:sldLayoutId id="2147484039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  <p:sldLayoutId id="2147484056" r:id="rId16"/>
    <p:sldLayoutId id="2147484057" r:id="rId17"/>
    <p:sldLayoutId id="2147484058" r:id="rId18"/>
    <p:sldLayoutId id="2147484059" r:id="rId19"/>
    <p:sldLayoutId id="2147484060" r:id="rId20"/>
    <p:sldLayoutId id="2147484061" r:id="rId21"/>
    <p:sldLayoutId id="2147484062" r:id="rId22"/>
    <p:sldLayoutId id="2147484063" r:id="rId23"/>
    <p:sldLayoutId id="2147484064" r:id="rId24"/>
    <p:sldLayoutId id="2147484065" r:id="rId25"/>
    <p:sldLayoutId id="2147484066" r:id="rId26"/>
    <p:sldLayoutId id="2147484067" r:id="rId27"/>
    <p:sldLayoutId id="2147484068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12"/>
            </p:custDataLst>
            <p:extLst>
              <p:ext uri="{D42A27DB-BD31-4B8C-83A1-F6EECF244321}">
                <p14:modId xmlns:p14="http://schemas.microsoft.com/office/powerpoint/2010/main" val="1922561305"/>
              </p:ext>
            </p:extLst>
          </p:nvPr>
        </p:nvGraphicFramePr>
        <p:xfrm>
          <a:off x="2119" y="159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3" imgW="360" imgH="360" progId="">
                  <p:embed/>
                </p:oleObj>
              </mc:Choice>
              <mc:Fallback>
                <p:oleObj name="think-cell Slide" r:id="rId113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0"/>
            <a:ext cx="9468733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6138"/>
            <a:ext cx="10972800" cy="48300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92085" y="6592424"/>
            <a:ext cx="2844800" cy="256822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defTabSz="457200"/>
            <a:fld id="{F96874C0-3CF2-6A4F-9538-38078D6674CF}" type="datetime1">
              <a:rPr lang="en-US" smtClean="0">
                <a:solidFill>
                  <a:srgbClr val="000000"/>
                </a:solidFill>
              </a:rPr>
              <a:pPr defTabSz="457200"/>
              <a:t>12/14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31360" y="6592424"/>
            <a:ext cx="5937981" cy="256822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55113" y="6592424"/>
            <a:ext cx="2844800" cy="256822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defTabSz="457200"/>
            <a:fld id="{FD79F44C-B0A7-3A42-A98F-236C7051F6BB}" type="slidenum">
              <a:rPr lang="en-US" smtClean="0">
                <a:solidFill>
                  <a:srgbClr val="000000"/>
                </a:solidFill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2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  <p:sldLayoutId id="2147484085" r:id="rId16"/>
    <p:sldLayoutId id="2147484086" r:id="rId17"/>
    <p:sldLayoutId id="2147484087" r:id="rId18"/>
    <p:sldLayoutId id="2147484088" r:id="rId19"/>
    <p:sldLayoutId id="2147484089" r:id="rId20"/>
    <p:sldLayoutId id="2147484090" r:id="rId21"/>
    <p:sldLayoutId id="2147484091" r:id="rId22"/>
    <p:sldLayoutId id="2147484092" r:id="rId23"/>
    <p:sldLayoutId id="2147484093" r:id="rId24"/>
    <p:sldLayoutId id="2147484094" r:id="rId25"/>
    <p:sldLayoutId id="2147484095" r:id="rId26"/>
    <p:sldLayoutId id="2147484096" r:id="rId27"/>
    <p:sldLayoutId id="2147484097" r:id="rId28"/>
    <p:sldLayoutId id="2147484098" r:id="rId29"/>
    <p:sldLayoutId id="2147484099" r:id="rId30"/>
    <p:sldLayoutId id="2147484100" r:id="rId31"/>
    <p:sldLayoutId id="2147484101" r:id="rId32"/>
    <p:sldLayoutId id="2147484102" r:id="rId33"/>
    <p:sldLayoutId id="2147484103" r:id="rId34"/>
    <p:sldLayoutId id="2147484104" r:id="rId35"/>
    <p:sldLayoutId id="2147484105" r:id="rId36"/>
    <p:sldLayoutId id="2147484106" r:id="rId37"/>
    <p:sldLayoutId id="2147484107" r:id="rId38"/>
    <p:sldLayoutId id="2147484108" r:id="rId39"/>
    <p:sldLayoutId id="2147484109" r:id="rId40"/>
    <p:sldLayoutId id="2147484110" r:id="rId41"/>
    <p:sldLayoutId id="2147484111" r:id="rId42"/>
    <p:sldLayoutId id="2147484112" r:id="rId43"/>
    <p:sldLayoutId id="2147484113" r:id="rId44"/>
    <p:sldLayoutId id="2147484114" r:id="rId45"/>
    <p:sldLayoutId id="2147484115" r:id="rId46"/>
    <p:sldLayoutId id="2147484116" r:id="rId47"/>
    <p:sldLayoutId id="2147484117" r:id="rId48"/>
    <p:sldLayoutId id="2147484118" r:id="rId49"/>
    <p:sldLayoutId id="2147484119" r:id="rId50"/>
    <p:sldLayoutId id="2147484120" r:id="rId51"/>
    <p:sldLayoutId id="2147484121" r:id="rId52"/>
    <p:sldLayoutId id="2147484122" r:id="rId53"/>
    <p:sldLayoutId id="2147484123" r:id="rId54"/>
    <p:sldLayoutId id="2147484124" r:id="rId55"/>
    <p:sldLayoutId id="2147484125" r:id="rId56"/>
    <p:sldLayoutId id="2147484126" r:id="rId57"/>
    <p:sldLayoutId id="2147484127" r:id="rId58"/>
    <p:sldLayoutId id="2147484128" r:id="rId59"/>
    <p:sldLayoutId id="2147484129" r:id="rId60"/>
    <p:sldLayoutId id="2147484130" r:id="rId61"/>
    <p:sldLayoutId id="2147484131" r:id="rId62"/>
    <p:sldLayoutId id="2147484132" r:id="rId63"/>
    <p:sldLayoutId id="2147484133" r:id="rId64"/>
    <p:sldLayoutId id="2147484134" r:id="rId65"/>
    <p:sldLayoutId id="2147484135" r:id="rId66"/>
    <p:sldLayoutId id="2147484136" r:id="rId67"/>
    <p:sldLayoutId id="2147484137" r:id="rId68"/>
    <p:sldLayoutId id="2147484138" r:id="rId69"/>
    <p:sldLayoutId id="2147484139" r:id="rId70"/>
    <p:sldLayoutId id="2147484140" r:id="rId71"/>
    <p:sldLayoutId id="2147484141" r:id="rId72"/>
    <p:sldLayoutId id="2147484142" r:id="rId73"/>
    <p:sldLayoutId id="2147484143" r:id="rId74"/>
    <p:sldLayoutId id="2147484144" r:id="rId75"/>
    <p:sldLayoutId id="2147484145" r:id="rId76"/>
    <p:sldLayoutId id="2147484146" r:id="rId77"/>
    <p:sldLayoutId id="2147484147" r:id="rId78"/>
    <p:sldLayoutId id="2147484148" r:id="rId79"/>
    <p:sldLayoutId id="2147484149" r:id="rId80"/>
    <p:sldLayoutId id="2147484150" r:id="rId81"/>
    <p:sldLayoutId id="2147484151" r:id="rId82"/>
    <p:sldLayoutId id="2147484152" r:id="rId83"/>
    <p:sldLayoutId id="2147484153" r:id="rId84"/>
    <p:sldLayoutId id="2147484154" r:id="rId85"/>
    <p:sldLayoutId id="2147484155" r:id="rId86"/>
    <p:sldLayoutId id="2147484156" r:id="rId87"/>
    <p:sldLayoutId id="2147484157" r:id="rId88"/>
    <p:sldLayoutId id="2147484158" r:id="rId89"/>
    <p:sldLayoutId id="2147484159" r:id="rId90"/>
    <p:sldLayoutId id="2147484160" r:id="rId91"/>
    <p:sldLayoutId id="2147484161" r:id="rId92"/>
    <p:sldLayoutId id="2147484162" r:id="rId93"/>
    <p:sldLayoutId id="2147484163" r:id="rId94"/>
    <p:sldLayoutId id="2147484164" r:id="rId95"/>
    <p:sldLayoutId id="2147484165" r:id="rId96"/>
    <p:sldLayoutId id="2147484166" r:id="rId97"/>
    <p:sldLayoutId id="2147484167" r:id="rId98"/>
    <p:sldLayoutId id="2147484168" r:id="rId99"/>
    <p:sldLayoutId id="2147484169" r:id="rId100"/>
    <p:sldLayoutId id="2147484170" r:id="rId101"/>
    <p:sldLayoutId id="2147484171" r:id="rId102"/>
    <p:sldLayoutId id="2147484172" r:id="rId103"/>
    <p:sldLayoutId id="2147484173" r:id="rId104"/>
    <p:sldLayoutId id="2147484174" r:id="rId105"/>
    <p:sldLayoutId id="2147484175" r:id="rId106"/>
    <p:sldLayoutId id="2147484176" r:id="rId107"/>
    <p:sldLayoutId id="2147484177" r:id="rId108"/>
    <p:sldLayoutId id="2147484178" r:id="rId109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923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12194117" cy="68595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1192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146050"/>
            <a:ext cx="9541933" cy="1066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Для правки текста заголовка щелкните мышью</a:t>
            </a:r>
          </a:p>
        </p:txBody>
      </p:sp>
      <p:sp>
        <p:nvSpPr>
          <p:cNvPr id="11192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23988"/>
            <a:ext cx="10354733" cy="46418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Для правки структуры щелкните мышью</a:t>
            </a:r>
          </a:p>
          <a:p>
            <a:pPr lvl="1"/>
            <a:r>
              <a:rPr lang="en-GB" altLang="ru-RU" smtClean="0"/>
              <a:t>Второй уровень структуры</a:t>
            </a:r>
          </a:p>
          <a:p>
            <a:pPr lvl="2"/>
            <a:r>
              <a:rPr lang="en-GB" altLang="ru-RU" smtClean="0"/>
              <a:t>Третий уровень структуры</a:t>
            </a:r>
          </a:p>
          <a:p>
            <a:pPr lvl="3"/>
            <a:r>
              <a:rPr lang="en-GB" altLang="ru-RU" smtClean="0"/>
              <a:t>Четвертый уровень структуры</a:t>
            </a:r>
          </a:p>
          <a:p>
            <a:pPr lvl="4"/>
            <a:r>
              <a:rPr lang="en-GB" altLang="ru-RU" smtClean="0"/>
              <a:t>Пятый уровень структуры</a:t>
            </a:r>
          </a:p>
          <a:p>
            <a:pPr lvl="4"/>
            <a:r>
              <a:rPr lang="en-GB" altLang="ru-RU" smtClean="0"/>
              <a:t>Шестой уровень структуры</a:t>
            </a:r>
          </a:p>
          <a:p>
            <a:pPr lvl="4"/>
            <a:r>
              <a:rPr lang="en-GB" altLang="ru-RU" smtClean="0"/>
              <a:t>Седьмой уровень структуры</a:t>
            </a:r>
          </a:p>
          <a:p>
            <a:pPr lvl="4"/>
            <a:r>
              <a:rPr lang="en-GB" altLang="ru-RU" smtClean="0"/>
              <a:t>Восьмой уровень структуры</a:t>
            </a:r>
          </a:p>
          <a:p>
            <a:pPr lvl="4"/>
            <a:r>
              <a:rPr lang="en-GB" altLang="ru-RU" smtClean="0"/>
              <a:t>Девятый уровень структуры</a:t>
            </a:r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101600" y="6553219"/>
            <a:ext cx="25400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ru-RU" altLang="ru-RU" sz="24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9550400" y="6553200"/>
            <a:ext cx="2531533" cy="4587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333333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fld id="{08237EC6-F0B4-41ED-A41E-ACE577FC556E}" type="slidenum">
              <a:rPr lang="en-US" altLang="ru-RU" sz="2400"/>
              <a:pPr defTabSz="449263" fontAlgn="base">
                <a:spcBef>
                  <a:spcPct val="0"/>
                </a:spcBef>
                <a:spcAft>
                  <a:spcPct val="0"/>
                </a:spcAft>
                <a:buSzPct val="100000"/>
                <a:defRPr/>
              </a:pPr>
              <a:t>‹#›</a:t>
            </a:fld>
            <a:endParaRPr lang="en-US" altLang="ru-RU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80" r:id="rId1"/>
    <p:sldLayoutId id="2147484181" r:id="rId2"/>
    <p:sldLayoutId id="2147484182" r:id="rId3"/>
    <p:sldLayoutId id="2147484183" r:id="rId4"/>
    <p:sldLayoutId id="2147484184" r:id="rId5"/>
    <p:sldLayoutId id="2147484185" r:id="rId6"/>
    <p:sldLayoutId id="2147484186" r:id="rId7"/>
    <p:sldLayoutId id="2147484187" r:id="rId8"/>
    <p:sldLayoutId id="2147484188" r:id="rId9"/>
    <p:sldLayoutId id="2147484189" r:id="rId10"/>
    <p:sldLayoutId id="2147484190" r:id="rId11"/>
  </p:sldLayoutIdLst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5pPr>
      <a:lvl6pPr marL="25146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6pPr>
      <a:lvl7pPr marL="29718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7pPr>
      <a:lvl8pPr marL="34290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8pPr>
      <a:lvl9pPr marL="38862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9pPr>
    </p:titleStyle>
    <p:bodyStyle>
      <a:lvl1pPr marL="342900" indent="-3429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333333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333333"/>
          </a:solidFill>
          <a:latin typeface="+mn-lt"/>
        </a:defRPr>
      </a:lvl2pPr>
      <a:lvl3pPr marL="1143000" indent="-228600" algn="l" defTabSz="449263" rtl="0" eaLnBrk="0" fontAlgn="base" hangingPunct="0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>
          <a:solidFill>
            <a:srgbClr val="333333"/>
          </a:solidFill>
          <a:latin typeface="+mn-lt"/>
        </a:defRPr>
      </a:lvl3pPr>
      <a:lvl4pPr marL="1600200" indent="-228600" algn="l" defTabSz="449263" rtl="0" eaLnBrk="0" fontAlgn="base" hangingPunct="0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333333"/>
          </a:solidFill>
          <a:latin typeface="+mn-lt"/>
        </a:defRPr>
      </a:lvl4pPr>
      <a:lvl5pPr marL="20574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5pPr>
      <a:lvl6pPr marL="25146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6pPr>
      <a:lvl7pPr marL="29718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7pPr>
      <a:lvl8pPr marL="34290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8pPr>
      <a:lvl9pPr marL="38862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7" y="274638"/>
            <a:ext cx="915881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4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04" r:id="rId13"/>
    <p:sldLayoutId id="2147484205" r:id="rId14"/>
    <p:sldLayoutId id="2147484206" r:id="rId15"/>
    <p:sldLayoutId id="2147484207" r:id="rId16"/>
    <p:sldLayoutId id="2147484208" r:id="rId17"/>
    <p:sldLayoutId id="2147484209" r:id="rId18"/>
    <p:sldLayoutId id="2147484210" r:id="rId19"/>
    <p:sldLayoutId id="2147484211" r:id="rId20"/>
    <p:sldLayoutId id="2147484212" r:id="rId21"/>
    <p:sldLayoutId id="2147484213" r:id="rId22"/>
    <p:sldLayoutId id="2147484214" r:id="rId23"/>
    <p:sldLayoutId id="2147484215" r:id="rId24"/>
    <p:sldLayoutId id="2147484216" r:id="rId25"/>
    <p:sldLayoutId id="2147484217" r:id="rId26"/>
    <p:sldLayoutId id="2147484218" r:id="rId27"/>
    <p:sldLayoutId id="2147484219" r:id="rId28"/>
    <p:sldLayoutId id="2147484220" r:id="rId29"/>
    <p:sldLayoutId id="2147484221" r:id="rId30"/>
    <p:sldLayoutId id="2147484222" r:id="rId31"/>
    <p:sldLayoutId id="2147484223" r:id="rId32"/>
    <p:sldLayoutId id="2147484224" r:id="rId33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274638"/>
            <a:ext cx="915881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  <p:sldLayoutId id="2147484241" r:id="rId16"/>
    <p:sldLayoutId id="2147484242" r:id="rId17"/>
    <p:sldLayoutId id="2147484243" r:id="rId18"/>
    <p:sldLayoutId id="2147484244" r:id="rId19"/>
    <p:sldLayoutId id="2147484245" r:id="rId20"/>
    <p:sldLayoutId id="2147484246" r:id="rId21"/>
    <p:sldLayoutId id="2147484247" r:id="rId22"/>
    <p:sldLayoutId id="2147484248" r:id="rId23"/>
    <p:sldLayoutId id="2147484249" r:id="rId24"/>
    <p:sldLayoutId id="2147484250" r:id="rId25"/>
    <p:sldLayoutId id="2147484251" r:id="rId26"/>
    <p:sldLayoutId id="2147484252" r:id="rId27"/>
    <p:sldLayoutId id="2147484253" r:id="rId28"/>
    <p:sldLayoutId id="2147484254" r:id="rId29"/>
    <p:sldLayoutId id="2147484255" r:id="rId30"/>
    <p:sldLayoutId id="2147484256" r:id="rId31"/>
    <p:sldLayoutId id="2147484257" r:id="rId32"/>
    <p:sldLayoutId id="2147484258" r:id="rId33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17" y="274638"/>
            <a:ext cx="915881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  <p:sldLayoutId id="2147483721" r:id="rId23"/>
    <p:sldLayoutId id="2147483722" r:id="rId24"/>
    <p:sldLayoutId id="2147483723" r:id="rId25"/>
    <p:sldLayoutId id="2147483724" r:id="rId26"/>
    <p:sldLayoutId id="2147483725" r:id="rId27"/>
    <p:sldLayoutId id="2147483726" r:id="rId28"/>
    <p:sldLayoutId id="2147483727" r:id="rId29"/>
    <p:sldLayoutId id="2147483728" r:id="rId30"/>
    <p:sldLayoutId id="2147483729" r:id="rId31"/>
    <p:sldLayoutId id="2147483730" r:id="rId32"/>
    <p:sldLayoutId id="2147483731" r:id="rId33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17" y="274638"/>
            <a:ext cx="915881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  <p:sldLayoutId id="2147483758" r:id="rId26"/>
    <p:sldLayoutId id="2147483759" r:id="rId27"/>
    <p:sldLayoutId id="2147483760" r:id="rId28"/>
    <p:sldLayoutId id="2147483761" r:id="rId29"/>
    <p:sldLayoutId id="2147483762" r:id="rId30"/>
    <p:sldLayoutId id="2147483763" r:id="rId31"/>
    <p:sldLayoutId id="2147483764" r:id="rId3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  <p:sldLayoutId id="2147483777" r:id="rId12"/>
    <p:sldLayoutId id="2147483778" r:id="rId13"/>
    <p:sldLayoutId id="2147483779" r:id="rId14"/>
    <p:sldLayoutId id="2147483780" r:id="rId15"/>
    <p:sldLayoutId id="2147483781" r:id="rId16"/>
    <p:sldLayoutId id="2147483782" r:id="rId17"/>
    <p:sldLayoutId id="2147483783" r:id="rId18"/>
    <p:sldLayoutId id="2147483784" r:id="rId19"/>
    <p:sldLayoutId id="2147483785" r:id="rId20"/>
    <p:sldLayoutId id="2147483786" r:id="rId21"/>
    <p:sldLayoutId id="2147483787" r:id="rId22"/>
    <p:sldLayoutId id="2147483788" r:id="rId23"/>
    <p:sldLayoutId id="2147483789" r:id="rId24"/>
    <p:sldLayoutId id="2147483790" r:id="rId25"/>
    <p:sldLayoutId id="2147483791" r:id="rId26"/>
    <p:sldLayoutId id="2147483792" r:id="rId27"/>
    <p:sldLayoutId id="2147483793" r:id="rId28"/>
    <p:sldLayoutId id="2147483794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  <p:sldLayoutId id="2147483822" r:id="rId27"/>
    <p:sldLayoutId id="2147483823" r:id="rId28"/>
    <p:sldLayoutId id="2147483824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30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1223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buClrTx/>
              <a:buSzTx/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defTabSz="449263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ctr">
              <a:buClrTx/>
              <a:buSzTx/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defTabSz="449263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r">
              <a:buClrTx/>
              <a:buSzTx/>
              <a:buFontTx/>
              <a:buNone/>
              <a:defRPr sz="1400">
                <a:solidFill>
                  <a:srgbClr val="000000"/>
                </a:solidFill>
              </a:defRPr>
            </a:lvl1pPr>
          </a:lstStyle>
          <a:p>
            <a:pPr defTabSz="449263" fontAlgn="base">
              <a:spcBef>
                <a:spcPct val="0"/>
              </a:spcBef>
              <a:spcAft>
                <a:spcPct val="0"/>
              </a:spcAft>
              <a:defRPr/>
            </a:pPr>
            <a:fld id="{6843199F-5D21-4CF4-B3E3-A9495B360A84}" type="slidenum">
              <a:rPr lang="ru-RU">
                <a:ea typeface="Arial Unicode MS" pitchFamily="34" charset="-128"/>
                <a:cs typeface="Arial Unicode MS" pitchFamily="34" charset="-128"/>
              </a:rPr>
              <a:pPr defTabSz="4492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30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02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74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4613" indent="-2270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7" y="274638"/>
            <a:ext cx="915881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  <p:sldLayoutId id="2147483873" r:id="rId24"/>
    <p:sldLayoutId id="2147483874" r:id="rId25"/>
    <p:sldLayoutId id="2147483875" r:id="rId26"/>
    <p:sldLayoutId id="2147483876" r:id="rId27"/>
    <p:sldLayoutId id="2147483877" r:id="rId28"/>
    <p:sldLayoutId id="2147483878" r:id="rId29"/>
    <p:sldLayoutId id="2147483879" r:id="rId30"/>
    <p:sldLayoutId id="2147483880" r:id="rId31"/>
    <p:sldLayoutId id="2147483881" r:id="rId32"/>
  </p:sldLayoutIdLst>
  <p:timing>
    <p:tnLst>
      <p:par>
        <p:cTn id="1" dur="indefinite" restart="never" nodeType="tmRoot"/>
      </p:par>
    </p:tnLst>
  </p:timing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  <a:ea typeface="ＭＳ Ｐゴシック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leo Bold" charset="0"/>
          <a:ea typeface="ＭＳ Ｐゴシック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Arial"/>
          <a:ea typeface="ＭＳ Ｐゴシック" charset="0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Arial"/>
          <a:ea typeface="ＭＳ Ｐゴシック" charset="0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Arial"/>
          <a:ea typeface="ＭＳ Ｐゴシック" charset="0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Arial"/>
          <a:ea typeface="ＭＳ Ｐゴシック" charset="0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6DBEE-108B-C54B-A71F-0F1E32E2925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518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  <p:sldLayoutId id="2147483932" r:id="rId20"/>
    <p:sldLayoutId id="2147483933" r:id="rId21"/>
    <p:sldLayoutId id="2147483934" r:id="rId22"/>
    <p:sldLayoutId id="2147483935" r:id="rId23"/>
    <p:sldLayoutId id="2147483936" r:id="rId24"/>
    <p:sldLayoutId id="2147483937" r:id="rId25"/>
    <p:sldLayoutId id="2147483938" r:id="rId26"/>
    <p:sldLayoutId id="2147483939" r:id="rId27"/>
    <p:sldLayoutId id="2147483940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1923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12194117" cy="68595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1192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400" y="146050"/>
            <a:ext cx="9541933" cy="10668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Для правки текста заголовка щелкните мышью</a:t>
            </a:r>
          </a:p>
        </p:txBody>
      </p:sp>
      <p:sp>
        <p:nvSpPr>
          <p:cNvPr id="111923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23988"/>
            <a:ext cx="10354733" cy="46418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Для правки структуры щелкните мышью</a:t>
            </a:r>
          </a:p>
          <a:p>
            <a:pPr lvl="1"/>
            <a:r>
              <a:rPr lang="en-GB" altLang="ru-RU" smtClean="0"/>
              <a:t>Второй уровень структуры</a:t>
            </a:r>
          </a:p>
          <a:p>
            <a:pPr lvl="2"/>
            <a:r>
              <a:rPr lang="en-GB" altLang="ru-RU" smtClean="0"/>
              <a:t>Третий уровень структуры</a:t>
            </a:r>
          </a:p>
          <a:p>
            <a:pPr lvl="3"/>
            <a:r>
              <a:rPr lang="en-GB" altLang="ru-RU" smtClean="0"/>
              <a:t>Четвертый уровень структуры</a:t>
            </a:r>
          </a:p>
          <a:p>
            <a:pPr lvl="4"/>
            <a:r>
              <a:rPr lang="en-GB" altLang="ru-RU" smtClean="0"/>
              <a:t>Пятый уровень структуры</a:t>
            </a:r>
          </a:p>
          <a:p>
            <a:pPr lvl="4"/>
            <a:r>
              <a:rPr lang="en-GB" altLang="ru-RU" smtClean="0"/>
              <a:t>Шестой уровень структуры</a:t>
            </a:r>
          </a:p>
          <a:p>
            <a:pPr lvl="4"/>
            <a:r>
              <a:rPr lang="en-GB" altLang="ru-RU" smtClean="0"/>
              <a:t>Седьмой уровень структуры</a:t>
            </a:r>
          </a:p>
          <a:p>
            <a:pPr lvl="4"/>
            <a:r>
              <a:rPr lang="en-GB" altLang="ru-RU" smtClean="0"/>
              <a:t>Восьмой уровень структуры</a:t>
            </a:r>
          </a:p>
          <a:p>
            <a:pPr lvl="4"/>
            <a:r>
              <a:rPr lang="en-GB" altLang="ru-RU" smtClean="0"/>
              <a:t>Девятый уровень структуры</a:t>
            </a:r>
          </a:p>
        </p:txBody>
      </p:sp>
      <p:sp>
        <p:nvSpPr>
          <p:cNvPr id="1029" name="Text Box 4"/>
          <p:cNvSpPr txBox="1">
            <a:spLocks noChangeArrowheads="1"/>
          </p:cNvSpPr>
          <p:nvPr/>
        </p:nvSpPr>
        <p:spPr bwMode="auto">
          <a:xfrm>
            <a:off x="101600" y="6553225"/>
            <a:ext cx="2540000" cy="460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ru-RU" altLang="ru-RU" sz="24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9550400" y="6553200"/>
            <a:ext cx="2531533" cy="4587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</a:bodyPr>
          <a:lstStyle>
            <a:lvl1pPr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333333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defRPr/>
            </a:pPr>
            <a:fld id="{08237EC6-F0B4-41ED-A41E-ACE577FC556E}" type="slidenum">
              <a:rPr lang="en-US" altLang="ru-RU" sz="2400"/>
              <a:pPr defTabSz="449263" fontAlgn="base">
                <a:spcBef>
                  <a:spcPct val="0"/>
                </a:spcBef>
                <a:spcAft>
                  <a:spcPct val="0"/>
                </a:spcAft>
                <a:buSzPct val="100000"/>
                <a:defRPr/>
              </a:pPr>
              <a:t>‹#›</a:t>
            </a:fld>
            <a:endParaRPr lang="en-US" altLang="ru-RU" sz="24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  <p:sldLayoutId id="2147483943" r:id="rId2"/>
    <p:sldLayoutId id="2147483944" r:id="rId3"/>
    <p:sldLayoutId id="2147483945" r:id="rId4"/>
    <p:sldLayoutId id="2147483946" r:id="rId5"/>
    <p:sldLayoutId id="2147483947" r:id="rId6"/>
    <p:sldLayoutId id="2147483948" r:id="rId7"/>
    <p:sldLayoutId id="2147483949" r:id="rId8"/>
    <p:sldLayoutId id="2147483950" r:id="rId9"/>
    <p:sldLayoutId id="2147483951" r:id="rId10"/>
    <p:sldLayoutId id="2147483952" r:id="rId11"/>
  </p:sldLayoutIdLst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+mj-lt"/>
          <a:ea typeface="+mj-ea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5pPr>
      <a:lvl6pPr marL="25146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6pPr>
      <a:lvl7pPr marL="29718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7pPr>
      <a:lvl8pPr marL="34290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8pPr>
      <a:lvl9pPr marL="3886200" indent="-228600"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3200" b="1">
          <a:solidFill>
            <a:srgbClr val="333333"/>
          </a:solidFill>
          <a:latin typeface="Arial" charset="0"/>
        </a:defRPr>
      </a:lvl9pPr>
    </p:titleStyle>
    <p:bodyStyle>
      <a:lvl1pPr marL="342900" indent="-342900" algn="l" defTabSz="449263" rtl="0" eaLnBrk="0" fontAlgn="base" hangingPunct="0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333333"/>
          </a:solidFill>
          <a:latin typeface="+mn-lt"/>
          <a:ea typeface="+mn-ea"/>
          <a:cs typeface="+mn-cs"/>
        </a:defRPr>
      </a:lvl1pPr>
      <a:lvl2pPr marL="742950" indent="-285750" algn="l" defTabSz="449263" rtl="0" eaLnBrk="0" fontAlgn="base" hangingPunct="0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333333"/>
          </a:solidFill>
          <a:latin typeface="+mn-lt"/>
        </a:defRPr>
      </a:lvl2pPr>
      <a:lvl3pPr marL="1143000" indent="-228600" algn="l" defTabSz="449263" rtl="0" eaLnBrk="0" fontAlgn="base" hangingPunct="0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>
          <a:solidFill>
            <a:srgbClr val="333333"/>
          </a:solidFill>
          <a:latin typeface="+mn-lt"/>
        </a:defRPr>
      </a:lvl3pPr>
      <a:lvl4pPr marL="1600200" indent="-228600" algn="l" defTabSz="449263" rtl="0" eaLnBrk="0" fontAlgn="base" hangingPunct="0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333333"/>
          </a:solidFill>
          <a:latin typeface="+mn-lt"/>
        </a:defRPr>
      </a:lvl4pPr>
      <a:lvl5pPr marL="20574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5pPr>
      <a:lvl6pPr marL="25146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6pPr>
      <a:lvl7pPr marL="29718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7pPr>
      <a:lvl8pPr marL="34290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8pPr>
      <a:lvl9pPr marL="3886200" indent="-228600" algn="l" defTabSz="449263" rtl="0" eaLnBrk="0" fontAlgn="base" hangingPunct="0">
        <a:spcBef>
          <a:spcPts val="35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400">
          <a:solidFill>
            <a:srgbClr val="333333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jpeg"/><Relationship Id="rId2" Type="http://schemas.openxmlformats.org/officeDocument/2006/relationships/image" Target="../media/image32.png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jpe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png"/><Relationship Id="rId7" Type="http://schemas.openxmlformats.org/officeDocument/2006/relationships/image" Target="../media/image5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6.xml"/><Relationship Id="rId6" Type="http://schemas.openxmlformats.org/officeDocument/2006/relationships/image" Target="../media/image53.jpeg"/><Relationship Id="rId11" Type="http://schemas.openxmlformats.org/officeDocument/2006/relationships/image" Target="../media/image58.jpeg"/><Relationship Id="rId5" Type="http://schemas.openxmlformats.org/officeDocument/2006/relationships/image" Target="../media/image52.jpeg"/><Relationship Id="rId10" Type="http://schemas.openxmlformats.org/officeDocument/2006/relationships/image" Target="../media/image57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quest.com/products-services/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9.xml"/><Relationship Id="rId6" Type="http://schemas.openxmlformats.org/officeDocument/2006/relationships/hyperlink" Target="http://www.proquest.com/products-services/dissertations/submitting-dissertation-proquest.html" TargetMode="External"/><Relationship Id="rId5" Type="http://schemas.openxmlformats.org/officeDocument/2006/relationships/hyperlink" Target="http://www.proquest.com/products-services/dissertations/authors.html" TargetMode="External"/><Relationship Id="rId4" Type="http://schemas.openxmlformats.org/officeDocument/2006/relationships/hyperlink" Target="http://www.proquest.com/products-services/dissertations/submit-a-dissertation.html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6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7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6.jpeg"/><Relationship Id="rId3" Type="http://schemas.openxmlformats.org/officeDocument/2006/relationships/image" Target="../media/image66.jpeg"/><Relationship Id="rId7" Type="http://schemas.openxmlformats.org/officeDocument/2006/relationships/image" Target="../media/image70.jpeg"/><Relationship Id="rId12" Type="http://schemas.openxmlformats.org/officeDocument/2006/relationships/image" Target="../media/image75.jpe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79.png"/><Relationship Id="rId1" Type="http://schemas.openxmlformats.org/officeDocument/2006/relationships/slideLayout" Target="../slideLayouts/slideLayout478.xml"/><Relationship Id="rId6" Type="http://schemas.openxmlformats.org/officeDocument/2006/relationships/image" Target="../media/image69.png"/><Relationship Id="rId11" Type="http://schemas.openxmlformats.org/officeDocument/2006/relationships/image" Target="../media/image74.png"/><Relationship Id="rId5" Type="http://schemas.openxmlformats.org/officeDocument/2006/relationships/image" Target="../media/image68.png"/><Relationship Id="rId15" Type="http://schemas.openxmlformats.org/officeDocument/2006/relationships/image" Target="../media/image78.jpeg"/><Relationship Id="rId10" Type="http://schemas.openxmlformats.org/officeDocument/2006/relationships/image" Target="../media/image73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Relationship Id="rId14" Type="http://schemas.openxmlformats.org/officeDocument/2006/relationships/image" Target="../media/image77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5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mailto:anna.trifonova@proquest.com" TargetMode="External"/><Relationship Id="rId2" Type="http://schemas.openxmlformats.org/officeDocument/2006/relationships/hyperlink" Target="mailto:meinhard.kettler@proquest.com" TargetMode="External"/><Relationship Id="rId1" Type="http://schemas.openxmlformats.org/officeDocument/2006/relationships/slideLayout" Target="../slideLayouts/slideLayout2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8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D356EC-74A9-48E2-8130-EB0D5F7F0B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0777" y="972413"/>
            <a:ext cx="10151167" cy="2128596"/>
          </a:xfrm>
        </p:spPr>
        <p:txBody>
          <a:bodyPr>
            <a:normAutofit/>
          </a:bodyPr>
          <a:lstStyle/>
          <a:p>
            <a:r>
              <a:rPr lang="en-US" altLang="en-US" sz="4400" b="1" dirty="0">
                <a:solidFill>
                  <a:srgbClr val="DE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ProQuest Dissertations &amp; Theses Global</a:t>
            </a:r>
            <a:br>
              <a:rPr lang="en-US" altLang="en-US" sz="4400" b="1" dirty="0">
                <a:solidFill>
                  <a:srgbClr val="DE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r>
              <a:rPr lang="en-US" altLang="en-US" sz="4400" b="1" dirty="0">
                <a:solidFill>
                  <a:srgbClr val="DE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and Dissertation </a:t>
            </a:r>
            <a:r>
              <a:rPr lang="en-US" altLang="en-US" sz="4400" b="1" dirty="0" smtClean="0">
                <a:solidFill>
                  <a:srgbClr val="DE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t>Publishing</a:t>
            </a:r>
            <a:r>
              <a:rPr lang="ru-RU" altLang="en-US" sz="44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  <a:t/>
            </a:r>
            <a:br>
              <a:rPr lang="ru-RU" altLang="en-US" sz="4400" dirty="0" smtClean="0">
                <a:ea typeface="ＭＳ Ｐゴシック" panose="020B0600070205080204" pitchFamily="34" charset="-128"/>
                <a:cs typeface="Arial" panose="020B0604020202020204" pitchFamily="34" charset="0"/>
              </a:rPr>
            </a:br>
            <a:endParaRPr lang="en-US" sz="4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D4B99A-06C2-4049-8053-929723DD81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20761" y="3080902"/>
            <a:ext cx="10150475" cy="309562"/>
          </a:xfrm>
        </p:spPr>
        <p:txBody>
          <a:bodyPr/>
          <a:lstStyle/>
          <a:p>
            <a:r>
              <a:rPr lang="ru-RU" sz="2800" b="1" dirty="0" smtClean="0"/>
              <a:t>Декабрь 2017 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592924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3200" dirty="0"/>
              <a:t>ProQuest </a:t>
            </a:r>
            <a:r>
              <a:rPr lang="ru-RU" sz="3200" dirty="0"/>
              <a:t>уверен в важности диссертаций, как формы научной коммуникации</a:t>
            </a:r>
            <a:endParaRPr lang="en-US" sz="3200" dirty="0"/>
          </a:p>
        </p:txBody>
      </p:sp>
      <p:pic>
        <p:nvPicPr>
          <p:cNvPr id="1027" name="Picture 3" descr="C:\Users\kfurniss\AppData\Local\Temp\24982000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" r="50000" b="65251"/>
          <a:stretch/>
        </p:blipFill>
        <p:spPr bwMode="auto">
          <a:xfrm>
            <a:off x="1825889" y="1580973"/>
            <a:ext cx="7869667" cy="419886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51817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137CD-FB14-438D-B182-80E70FA46E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392" y="182881"/>
            <a:ext cx="11887199" cy="680720"/>
          </a:xfrm>
        </p:spPr>
        <p:txBody>
          <a:bodyPr/>
          <a:lstStyle/>
          <a:p>
            <a:r>
              <a:rPr lang="ru-RU" sz="3200" dirty="0"/>
              <a:t>Ведущие университеты мира размещают диссертации в</a:t>
            </a:r>
            <a:r>
              <a:rPr lang="en-US" sz="3200" dirty="0"/>
              <a:t> ProQues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9C7B72-00EF-4F0F-9075-F09C658372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2771" y="2866682"/>
            <a:ext cx="1194260" cy="100826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EF1B9CF-AA04-400C-9EFC-0EA3464B213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15117" y="4602007"/>
            <a:ext cx="910336" cy="914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E3C3F6-0C1C-4E20-A179-6E4AD909DE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54005" y="4763828"/>
            <a:ext cx="2100963" cy="5503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0FC6224-912F-4D3C-BD89-B9CDE6ABE23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430" y="4588138"/>
            <a:ext cx="879575" cy="1143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592F52E-95ED-44EF-909A-33DADB85A9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9120" y="4593675"/>
            <a:ext cx="914400" cy="92183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D179474-BE06-4A89-AEE6-74F1EBA2B3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44475" y="2996753"/>
            <a:ext cx="1828800" cy="76348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BD8FAE9-1276-43FA-BC40-8FADA3E61E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96805" y="1227553"/>
            <a:ext cx="914400" cy="9144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A0404C8-F3B1-4132-9A7A-3B635812E1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791245" y="4646339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F0AD7D4-6E0F-4260-9090-8052F31378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5611" y="2866682"/>
            <a:ext cx="1828800" cy="96470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D3DC5A2-CD3A-42DD-A5DE-F53248389DD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95387" y="3002705"/>
            <a:ext cx="1828800" cy="77585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F06BEC4-CEDD-4629-9E93-D0213D5F20B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925293" y="2886631"/>
            <a:ext cx="1739043" cy="91440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5A84857-3B96-4FDD-9188-AFF94C6FE23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08880" y="1405256"/>
            <a:ext cx="1828800" cy="56584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847C27EA-C895-4A50-A066-2861C3027F6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98753" y="4602007"/>
            <a:ext cx="862643" cy="9144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C256A1D-A055-44AB-8071-5B3EB53C485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370346" y="1474383"/>
            <a:ext cx="1880007" cy="54864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72C762C9-C03E-47AC-99BC-0ABD477D330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935341" y="1186898"/>
            <a:ext cx="853440" cy="9144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DD4D0CC-2B3C-41D1-BF09-58E2C14879F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52287" y="4505125"/>
            <a:ext cx="1143000" cy="1143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B263766-8669-42D2-B77D-800D8783F6DA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14383" y="1074551"/>
            <a:ext cx="1077724" cy="1077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5B93BDAA-6AB0-4D2C-9C3D-27313EC7DB0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473785" y="958298"/>
            <a:ext cx="109728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5123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2"/>
          <p:cNvPicPr>
            <a:picLocks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895352"/>
            <a:ext cx="12192000" cy="6602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Title 7"/>
          <p:cNvSpPr>
            <a:spLocks noGrp="1"/>
          </p:cNvSpPr>
          <p:nvPr>
            <p:ph type="title"/>
          </p:nvPr>
        </p:nvSpPr>
        <p:spPr>
          <a:xfrm>
            <a:off x="609600" y="0"/>
            <a:ext cx="11135784" cy="852488"/>
          </a:xfrm>
        </p:spPr>
        <p:txBody>
          <a:bodyPr>
            <a:noAutofit/>
          </a:bodyPr>
          <a:lstStyle/>
          <a:p>
            <a:pPr eaLnBrk="1" hangingPunct="1"/>
            <a:r>
              <a:rPr lang="en-US" altLang="en-US" sz="3200" b="1" dirty="0" smtClean="0">
                <a:solidFill>
                  <a:srgbClr val="C00000"/>
                </a:solidFill>
                <a:latin typeface="Calibri" pitchFamily="34" charset="0"/>
              </a:rPr>
              <a:t>PQDT Global : </a:t>
            </a:r>
            <a:r>
              <a:rPr lang="ru-RU" altLang="en-US" sz="3200" b="1" dirty="0" smtClean="0">
                <a:solidFill>
                  <a:srgbClr val="C00000"/>
                </a:solidFill>
                <a:latin typeface="Calibri" pitchFamily="34" charset="0"/>
              </a:rPr>
              <a:t>новый «Европейский» </a:t>
            </a:r>
            <a:r>
              <a:rPr lang="ru-RU" altLang="en-US" sz="3200" b="1" dirty="0" err="1" smtClean="0">
                <a:solidFill>
                  <a:srgbClr val="C00000"/>
                </a:solidFill>
                <a:latin typeface="Calibri" pitchFamily="34" charset="0"/>
              </a:rPr>
              <a:t>контент</a:t>
            </a:r>
            <a:endParaRPr lang="en-US" altLang="en-US" sz="3200" b="1" dirty="0" smtClean="0">
              <a:solidFill>
                <a:srgbClr val="C00000"/>
              </a:solidFill>
              <a:latin typeface="Calibri" pitchFamily="34" charset="0"/>
            </a:endParaRPr>
          </a:p>
        </p:txBody>
      </p:sp>
      <p:sp>
        <p:nvSpPr>
          <p:cNvPr id="31748" name="Content Placeholder 14"/>
          <p:cNvSpPr>
            <a:spLocks noGrp="1"/>
          </p:cNvSpPr>
          <p:nvPr>
            <p:ph idx="1"/>
          </p:nvPr>
        </p:nvSpPr>
        <p:spPr>
          <a:xfrm>
            <a:off x="914400" y="1216025"/>
            <a:ext cx="10363200" cy="4648200"/>
          </a:xfrm>
        </p:spPr>
        <p:txBody>
          <a:bodyPr/>
          <a:lstStyle/>
          <a:p>
            <a:pPr algn="ctr" eaLnBrk="1" hangingPunct="1">
              <a:buFont typeface="Arial" pitchFamily="34" charset="0"/>
              <a:buNone/>
            </a:pPr>
            <a:r>
              <a:rPr lang="en-US" altLang="en-US" sz="2800" b="1" dirty="0" smtClean="0">
                <a:solidFill>
                  <a:srgbClr val="C00000"/>
                </a:solidFill>
                <a:latin typeface="Calibri" pitchFamily="34" charset="0"/>
              </a:rPr>
              <a:t>A vision to connect people to the world’s knowledge</a:t>
            </a:r>
          </a:p>
        </p:txBody>
      </p:sp>
      <p:sp>
        <p:nvSpPr>
          <p:cNvPr id="31749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347200" y="6592909"/>
            <a:ext cx="2844800" cy="255587"/>
          </a:xfrm>
          <a:noFill/>
        </p:spPr>
        <p:txBody>
          <a:bodyPr/>
          <a:lstStyle/>
          <a:p>
            <a:fld id="{85FAA0AF-A803-4480-BAF7-2B2D24BFF00D}" type="slidenum">
              <a:rPr lang="en-US" altLang="en-US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pPr/>
              <a:t>12</a:t>
            </a:fld>
            <a:endParaRPr lang="en-US" altLang="en-US" smtClean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599028" y="4471988"/>
            <a:ext cx="11146367" cy="2305050"/>
            <a:chOff x="489702" y="2322975"/>
            <a:chExt cx="8212290" cy="3404725"/>
          </a:xfrm>
        </p:grpSpPr>
        <p:sp>
          <p:nvSpPr>
            <p:cNvPr id="31769" name="TextBox 15"/>
            <p:cNvSpPr txBox="1">
              <a:spLocks noChangeArrowheads="1"/>
            </p:cNvSpPr>
            <p:nvPr/>
          </p:nvSpPr>
          <p:spPr bwMode="auto">
            <a:xfrm>
              <a:off x="489702" y="4627506"/>
              <a:ext cx="1825648" cy="545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University of Bath</a:t>
              </a:r>
            </a:p>
          </p:txBody>
        </p:sp>
        <p:sp>
          <p:nvSpPr>
            <p:cNvPr id="31770" name="TextBox 16"/>
            <p:cNvSpPr txBox="1">
              <a:spLocks noChangeArrowheads="1"/>
            </p:cNvSpPr>
            <p:nvPr/>
          </p:nvSpPr>
          <p:spPr bwMode="auto">
            <a:xfrm>
              <a:off x="2586286" y="4519392"/>
              <a:ext cx="2082798" cy="5455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Universitat de Valencia</a:t>
              </a:r>
            </a:p>
          </p:txBody>
        </p:sp>
        <p:sp>
          <p:nvSpPr>
            <p:cNvPr id="31771" name="TextBox 17"/>
            <p:cNvSpPr txBox="1">
              <a:spLocks noChangeArrowheads="1"/>
            </p:cNvSpPr>
            <p:nvPr/>
          </p:nvSpPr>
          <p:spPr bwMode="auto">
            <a:xfrm>
              <a:off x="4798076" y="4996838"/>
              <a:ext cx="2242032" cy="4547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endParaRPr lang="en-US" altLang="en-US" sz="1400" i="1">
                <a:solidFill>
                  <a:srgbClr val="262626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1772" name="TextBox 19"/>
            <p:cNvSpPr txBox="1">
              <a:spLocks noChangeArrowheads="1"/>
            </p:cNvSpPr>
            <p:nvPr/>
          </p:nvSpPr>
          <p:spPr bwMode="auto">
            <a:xfrm>
              <a:off x="7165742" y="4627506"/>
              <a:ext cx="1536250" cy="954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And more to come….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2554471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4700333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7002145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609612" y="1981212"/>
            <a:ext cx="11146367" cy="2303463"/>
            <a:chOff x="489702" y="2322975"/>
            <a:chExt cx="8212290" cy="3404725"/>
          </a:xfrm>
        </p:grpSpPr>
        <p:sp>
          <p:nvSpPr>
            <p:cNvPr id="31762" name="TextBox 24"/>
            <p:cNvSpPr txBox="1">
              <a:spLocks noChangeArrowheads="1"/>
            </p:cNvSpPr>
            <p:nvPr/>
          </p:nvSpPr>
          <p:spPr bwMode="auto">
            <a:xfrm>
              <a:off x="489702" y="4627506"/>
              <a:ext cx="1825648" cy="954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University College London</a:t>
              </a:r>
            </a:p>
          </p:txBody>
        </p:sp>
        <p:sp>
          <p:nvSpPr>
            <p:cNvPr id="31763" name="TextBox 26"/>
            <p:cNvSpPr txBox="1">
              <a:spLocks noChangeArrowheads="1"/>
            </p:cNvSpPr>
            <p:nvPr/>
          </p:nvSpPr>
          <p:spPr bwMode="auto">
            <a:xfrm>
              <a:off x="2586286" y="4627506"/>
              <a:ext cx="2082798" cy="5456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Cardiff University</a:t>
              </a:r>
            </a:p>
          </p:txBody>
        </p:sp>
        <p:sp>
          <p:nvSpPr>
            <p:cNvPr id="31764" name="TextBox 27"/>
            <p:cNvSpPr txBox="1">
              <a:spLocks noChangeArrowheads="1"/>
            </p:cNvSpPr>
            <p:nvPr/>
          </p:nvSpPr>
          <p:spPr bwMode="auto">
            <a:xfrm>
              <a:off x="4798076" y="4996838"/>
              <a:ext cx="2242032" cy="5459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University of Leicester</a:t>
              </a:r>
              <a:endParaRPr lang="en-US" altLang="en-US" sz="1400" i="1">
                <a:solidFill>
                  <a:srgbClr val="262626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1765" name="TextBox 28"/>
            <p:cNvSpPr txBox="1">
              <a:spLocks noChangeArrowheads="1"/>
            </p:cNvSpPr>
            <p:nvPr/>
          </p:nvSpPr>
          <p:spPr bwMode="auto">
            <a:xfrm>
              <a:off x="7165742" y="4627506"/>
              <a:ext cx="1536250" cy="954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457200"/>
              <a:r>
                <a:rPr lang="en-US" altLang="en-US" i="1">
                  <a:solidFill>
                    <a:srgbClr val="262626"/>
                  </a:solidFill>
                  <a:latin typeface="Calibri" pitchFamily="34" charset="0"/>
                  <a:cs typeface="Arial" pitchFamily="34" charset="0"/>
                </a:rPr>
                <a:t>University of Aberdeen</a:t>
              </a:r>
            </a:p>
          </p:txBody>
        </p:sp>
        <p:cxnSp>
          <p:nvCxnSpPr>
            <p:cNvPr id="30" name="Straight Connector 29"/>
            <p:cNvCxnSpPr/>
            <p:nvPr/>
          </p:nvCxnSpPr>
          <p:spPr>
            <a:xfrm>
              <a:off x="2554471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4700333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>
              <a:off x="7002145" y="2322975"/>
              <a:ext cx="0" cy="3404725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752" name="TextBox 45"/>
          <p:cNvSpPr txBox="1">
            <a:spLocks noChangeArrowheads="1"/>
          </p:cNvSpPr>
          <p:nvPr/>
        </p:nvSpPr>
        <p:spPr bwMode="auto">
          <a:xfrm>
            <a:off x="6474884" y="5959486"/>
            <a:ext cx="282574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en-US" altLang="en-US" i="1">
                <a:solidFill>
                  <a:srgbClr val="262626"/>
                </a:solidFill>
                <a:latin typeface="Calibri" pitchFamily="34" charset="0"/>
                <a:cs typeface="Arial" pitchFamily="34" charset="0"/>
              </a:rPr>
              <a:t>London School of Economics</a:t>
            </a:r>
          </a:p>
        </p:txBody>
      </p:sp>
      <p:pic>
        <p:nvPicPr>
          <p:cNvPr id="31753" name="Picture 2" descr="http://1.bp.blogspot.com/_EBQXWmofca0/S9ygeheQErI/AAAAAAAAA0U/PIhj0lFtTQQ/s1600/800px-UCL_Portico_Building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14919" y="2149475"/>
            <a:ext cx="2273300" cy="1277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4" name="Picture 6" descr="http://myea.umd.edu/_customtags/ct_Image.cfm?Image_ID=1585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97314" y="2149475"/>
            <a:ext cx="216323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5" name="Picture 8" descr="http://mathi.eu/wp-content/uploads/yapb_cache/leicester_cricket_university.3ucvpo0c3ew40ok4oc0w04ows.eyxxlunssk088oo04goo4ssgk.th.jpe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75967" y="2149475"/>
            <a:ext cx="2425700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6" name="Picture 10" descr="http://t3.gstatic.com/images?q=tbn:ANd9GcTDMGMDZK-Fp_RVvmQ3kXUurLjX6eOZGe_9Ye6y_8hgApE2FiY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675285" y="2157413"/>
            <a:ext cx="2080683" cy="116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7" name="Picture 18" descr="http://www.thisisbath.co.uk/images/localpeople/ugc-images/275774/Article/images/17329687/4312181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14920" y="4641850"/>
            <a:ext cx="2089149" cy="1049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58" name="Picture 52" descr="http://www.iec.cat/butlleti/imatges/152_butlleti_portada_claustreg.jp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558117" y="4581546"/>
            <a:ext cx="2402416" cy="110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59" name="AutoShape 24" descr="data:image/jpeg;base64,/9j/4AAQSkZJRgABAQAAAQABAAD/2wCEAAkGBhQSERUUExQVFBUWGBoWGBgXFxcUGBcYGBgYFxgXFxQXHCYeFxkjGhQXHy8gIycpLCwsFx4xNTAqNSYrLCkBCQoKBQUFDQUFDSkYEhgpKSkpKSkpKSkpKSkpKSkpKSkpKSkpKSkpKSkpKSkpKSkpKSkpKSkpKSkpKSkpKSkpKf/AABEIAQ0AuwMBIgACEQEDEQH/xAAcAAABBQEBAQAAAAAAAAAAAAAGAgMEBQcBAAj/xABCEAABAwIDBQUHAQYEBQUAAAABAAIRAyEEBTEGEkFRYSIycYGRBxOhscHR8OEUI0JSYoJTcpLxFRaistIkJTODwv/EABQBAQAAAAAAAAAAAAAAAAAAAAD/xAAUEQEAAAAAAAAAAAAAAAAAAAAA/9oADAMBAAIRAxEAPwC2DtbnwSOHHxUncMnmkFlvmgadEj8lcAF/knnDQx4Lg1NroGC2y9uiQnYt81w6i1kDbWi6dDBAXY1Q9tFte3DjcaN6py4N5Tx8h8EF8+A69gqXNMxpskFwB8fyEAY/aWvVPaqO8GndHoFUuMoDurtpQYIAfUP9IEeMuKgO2/fPYphsaGST4yCIQnC6QgIm7ZV5mKZ4mz/jeymYbbgA/vWCObCSR4tIFvBCC8g0iltLhnRFZt+ctPmCJBU6lj6bj2ajT/c23iJkLKYS6VUtMtJHgg1mnDpg31SjQ0ugDLNqS3dbVEgEdsWcOpg9q34Ue4TEMqMa9hkR4hBw0tbps0tLqZuC6acwWQRjTN005imlglMvoiEDO6Z1SN3qfgnywSmSAgMHUrpsUrKU5glNlovdAw+mbFcFO5T722CT7u6CPuGCkPB15KRW3WtLnGABKzrajb1xJp4aA24NTUnUdnh5+k6oLLajagUv3dNwNR3K+6D/ABH6A63OmoTXaXHUkm5JNzzlV/vTJMmTqTcnxJUvAsBPaNvGB5koGzheV+vNM1Gwfsryu3ftTH3P1jqYVbiMLua68kESF5LDVwtQIheCVC4g8V4Ly8g4Qr/ZHPDRqbjj2HHjNufwn4KiAXt0i6DZ3CeFk07TRD2w20Bqt9y89po7JvcDVpPMTbp4FElVhhBHc6+i5FtF17DK80FAh7b6Jgt6KU6bJpzDP6hAUueJTe8L2unnTOibvJQNOI3Qlb7QZNgBMrxPZ0Qf7RM8LKQpNMF/e/yjh4HlyQDW2W2DsQ806ZiiD/rg2J6cQPPlAoV0lKYxBxrVIa6EgBLY26C2yvfcD2hTpjU6F3nqU3TdTqVQXT7sdbmOqaxnYAbMki56cgOAUVjUFtjMM0s32DvEho4gD5fqqxuCdBcRDRYnryUzC4mBfy6DokY+vLWsHdHDqefVBXOCSWqwwmFBuV7GYYMHU/BBW7q5CXuSYSqvIdQg82nIlP4VgIM9PLr8k5gmdkzxn5JOGMEzobH6IOU3uw9RtRp7pDrdDceYkeBPNa4Htc0EGxEjzWR7+6SHXGh4cNZWmbN1i7CUpBPYF+ZEtPxagluYJF02Wa3TzjpZNEi9kDTgLXSXC+qWeFlx0TogLHtNuaaNMybp97Ba9025onVBGqWaTNgsY2ozc167jNgSB66/nJahthmAo4So6bkbrfF1vrHmsYKDrWynYXqbU4xk2QNtClYUAGTdNRCew1LePIalA7mZ3ngjkJ8eS7i3ANFNo0EuPU6R0A+aZNTtTwC5Tfvvk8fogdw9K5nRokpVFkwTqd53oPkpDmw1x5wPr9AuVyGjXSnHqEDeWUnPIA01J6BLzWgGXJ7R/wCkcPA9F3J97eAaN48uAHN3RczqmG1IkvdaTBF+QHLrxQNYLL3Oc0NBLjc2mJsPNczDJ3UcQ+i8dpmo8WytX9muyBEVqzZgbzWkceEz1+SBPaew08zqn+YNd8x9EA/VqRTA6hw8IH2S6VIOtpvNInr/ALqvLyY/NE9ha8EfBAlziR1/LLQfZ/XLsIW3O44xJ4Ek+VyfggqpRA7REhw3vWxH5pKKPZ7iADVpWv2m8zwMegQFT2lIcCpDqXVIdTugjGYXTK8adtUrd6oCV7hAskuIlOPmNEl5Mi36IM39quO/+KmLSS4jnuiPm8eiz+mJKJ/aXiS7HFp0YxojkXSSP+34Iaw4ugkUxddaISZSyUCFIe6Gho1Nz9lHC86ogVUdwXcKe15FMJYsgk1K9+i9Ta6rUaxgLnOIa0DiTYBRH1EQezt3/umEJ096R4E03gfE68NUGn4TZXD5Ng3Vq8Vq8TB7gdEBo5wfNU3s12NdjsQcfirsnept4OdeJH8rRoOasPat7yvUoYOm3vuAtfUgFx5wDJK0rK8IzD0adBghtNoaPIRKDrMPuyG2At4LL/bLsualJuJY2XUpDo4scRJ/tN/MrUq+LawybB3zH3HyVRmGZUngscWkEQQSLjig+bcppe836f8AFBeznLRJA6wJj+lQpuijbPZxuFrmphnE0i7eaRrSdMgTyB08IVC6i528+JBMkDmeIHDwQPtxALGjkCD1B19L+qaweYvw9VtVneYZj+YcWnxH0TLQWm355FJqN5oNjwOYU61JtRhBDhMTzTr2iVnmwmfGm/3D7tdJYZ7ptLQI0Nz6o/ZVLjbTwQNPAgrwATjpuuN0QEjqZjVIfTMi6ccRCbqEWQYRtbXL8bXceLyB0DewP+2fNV1FWu2rQMwxIGgeB/0MVXTCBzeTjRZNwrDAYcOY8kgFsGD/ABayOkAEoIQXjRTuLoBruyZBgjwI0TlJiBilg3O7olN1qLhqFe4bHBgDQJJ4nSOq9mFRhIdd7YJNvdtMC7Wm5lAOtYSi32euZTr71SxBaWnq0zbykKdlWzbcweBhaLmU2Ug90PLiTYPAFUCSHGNYMSFLwGXNBdTLAXU4M7rqTwDoXU3XGmuiDV8C2nXqNqwC9tg7WJ1VnmILBIQbsjiCyruzIH2Rrmzt6nA5IMx2t2hrPO5TBPUIewuAxVV/aqU2dXOv/pBkowz3Jy3QEhxIhpDSQBxdqBYi11UbSZfi8GKT6BDWOh7ms/chwB7VN1Rrd+SP4t4HWOgON2Kplu6+u15OrdPQEkrOdosqfgcQ5gMtPaYeY5eSMcCcwqUDVquNWmXQPe3G7EktqxvCLQ6/1VfnOUVcTRAMufSm51LT/CTxOl+MIAkYyTJlSMRRpFu8x5/yuiZ8uCrwzmvEIOh0GQYIuDyPNaVs1m76rAajuETEyZ4nh+qzIox2Er7wLCdHi1yIeI+bW+hQHjWWXGi2qVT4rgAQEM2Nk246WTt4KbLTAQYx7RsH7vMah/xGsqjzBZ86ZVAwI89rQaa2HaB+8FN5dHCmXNDZ5dqY80Bt1QOhOMeRMcU2EoIOtuQOdkW5JkrHCXaXQrhu8OiMchxIBE6IEf8ALZqVIYIaOfFGeB2ew5phn7M8O4lrnCOomfTRWuX4JjxvCB6K6w+FERxQNZNgxhqZbQpgb3ec5xc4xzi0dOqr9pmCAXBu+bbwHajlPLoiJjN25QjtPiCakmwFvBBH2dcGvk6ko9dVmmstyOsalTeHdmy1HBU5pEdEFfSaXbzQe8PXz5qPTw1Vsjff07Xwg2IT12Og+X2VmaYdBIugpK2Vud3nOLeR4jlEqPXy4AEwINvJEhZzVbmMbpQfOG0WB9ziq1OIAeXDwf2x5dqPJVpRT7R6cYsO4uYJ8nO/8kLIOIs9nzCarrTbX+5kf/pCiO/ZrgSW1Kh0ndHUt1+cIDXibapueifqa6qM4HmgIw3W6S7u6rpIkpkuEIBhuAZiM2xLKkOH7GxkH+V1SSPiFmWe5Q7C4mpQdcsNibbzTdro8PiCtBdjP2fP6e9O5iKIZPCTvkHydTA81H9rmTONSniG0zDWllRwvAB7Jdyu6Lc0GeNS00CptHD747PnOsoGWkAtjzV/l9U+iHqrCCLcfkrfC1IIKDTNm8dYXRZhcVKy7KccaZ6euqLMrzcuIk6IDtrZCCPaC4U6QE9qo7dHhqfgEWYTHWuUD+0jJcRiXMfREhhmJjhrdBT5TmzcM0AiVp+WbUUDTaQRBCwWrs1iqtZrXUnAkwJ7vrwWiZJ7MqjCwYit2f5WSPLeP0QEVbaSlUrOY17JbeN4TbprwRTQZ2fG6ztvs3o0McKlMNazvEdpxceNybTaStBpYi0IPV2/BD+cVoCuK9eUMZ9V7MIMY23xPvMW/k0NaPmfmh0q0z+f2mt1dz6D8uo+W5RUr1NxguBLidGgmJceF/yxQRqNFz3NawbznENaBxJ0C2PJctbh8OymDO6LkcXG7j6qn2T2OGGIqVYdVi0TusB5c3W1jp1JE5+tkHXuEhR3RPFOkpt7r6ICY6mybAtolkmUkEwUAh7Scoc+hTxFIfvMM7e6lhIkeAIa7wBUz/mSnistq1HRApkOEgkODRY9QY8oKvcS47o49OayzPdma9Os4YWk9rK1txpB3ouBBs1oJMXGpGiATDSAJ1hLpVCDIMFP5lldaiQK9N1MnQOIvHKCZ8VECCczHlxAdBnjx6SpVIqlcVbYSpKAqy/tMU/LsTunW6o8urwE/QxXb80GkYHETHQXU8YkCULUM1FKmXHlKHKntAL3xSBdOkXQagz3Yc11QhoHMxdXX7bSqNlrmuHPeFlk9PFYyo2W4YuvBLnNB+aivoY8PIFAiY1cIHPTwKDVsViaT9Ht3h1XKVWNfJZz7/HNBBw7bXPa++i5l+2T2vDH06o/p3d4n/LuyD5INBr1rIZzl29Yq5diw+lvCdONj6IdxVWXE8EGOZ/W/wDU14/xHeNrfRaHsXs+cPhpcP3lXtOm8D+FvkL+JKzHGVd6tUdzqPI/1khapslnRxOHDnWc0lpI0Jm3nET4oLa4twSQTdKeNLpEC6BUm3xSXkykmISXRKAnIg6psixErj3CUhpF0CatAECTxTGNw9NjS99XcAEklxkf5bpvOcY6nRL6bQ8tuWkxIGsHwWTbV7XPxjgC006QiGaknXecYHkPwAvaLNqVetNNpDQY3iSXP6y4kxyE2k81T1xy0UZj0r3iDzlKwFWFCLlJwQsgv8PXheo4iKoJ0kSoVKpCtNl8pOJxAbctbBd66INOy7Kn1KQc1hMi0gX8JQXm+S4kPM4ZwjjTYD8G/wC61OpjarwKVP8AdtgAkd48wOQV7gcvYGgAaIMXyfbv9nAZV3qZ/qBbJH9LgDwV1U9oFAw73gnwWp4jLWvEOAcOTgHD0KHMb7OMA9xc7CU2uOrqY3PUNhAGP20FUbrHa6w3grTKQ1sObrzRDhtisNTtTAA5Wt6QUzm2QBjZYCOkyD4cQeiCtxdcNa6OIKF81xfu6FR/JpPwspWZYwxAQZtvmk0W0mnUhzvAH6n5FAG06Bc8MGpcGz4mJ+q1nZnJm4agGAlx7zieZ1gfDwCDPZ9lwfWc9wndbA01dxHWJH9xWjhx0QIc7Sy4vPcV6TKBt7oGi4u1CYXBKC8fXggkKrxW0tNhIALzwDRN+p0CuaWTe/70x1H0Vtgchp0wIa2/TVBkGfbU4pzSC33LSSO6Sd3xQTiHb3EnqV9MYjJaTm7rqYLTa/69VTD2YYIne93BBtBifLQoPncAhcJW3ba7BMdSO42I7pF49OCxbGYR1N5Y8Q4GD/ugRSaTPQSrnH5Z+zvaODmgg9YupOymUsqVCHEyIPQiQfmPgijaLJvfUYA7TbiEAvk+WOxFUU22nU8gtl2eySlhKYiB/MeJPMrLdhahpvc4jtDsxpxifgjWljnvq9sy0EWHdn6oCx2PeXfum+ZsplLE12DtOb4AG3qqMbQ06R7ThKZxW3FLi4eqA0wOMqOEkj0UPGbR1Q8to0BU3e+7e3QOYHMoawG3tGYFQHoDKkbK7dUWtfSrvAcXPeyASXMLib8zMoCjD5jRrtJ0cLOa6zmnkfuFyvgy5p3XEjlqm8BSa8vqNENqbpAiNBqRzMp//hYmRI8DCDM9qMrfvywXJgzYA/zeH5xVPtp7KKv7TvYcy00afeMlzwHB88gYB5XK0XO8L2iDc6jrzCnMx3vgxwMODd1w5Ecb8DqgxXZXJcXQqw1oDSYeHXg8eq0A5cIkPnyP4Fe1Mvbv78CXWJ0lLblrOA/PFAK1crfFrjmo76bmntAjxRu2gW1O72IsZvPhyXK+Ga4kESgBDpqlNV5mGzovu26cFSOwT2mN02QanSG7aLJIbJ5dJhR8NUsCZ/2SjU5n4jmgeMH8lRmvANo+/H1TrW8fr9lDxVE6iSQNA78vZA9iKIeHTex6x+BYT7RslIqb4GhIPhw/Oq27DYgRax4gD1uP0QttjljXODrQ4bruN/NBmOzLS2rSdwcHMPiBIRniscKLH1CJDWOMc4Ei3iEOZNUaG1aW7L2k1KcfzsuACSBfu+ZV/XqhzeDg4WHMHggz/I8NiMRXih3zdx0aATefstIwOwWKcP3mJYwcmMLj6kx8FYbHbNtpNO40N3jJ+0o2oYf0CAPwnsgw1TtYipXqnq/dH+lsJ+r7HcvcbU3j/wCx31RvM2CkMpoM6xHsQwUfu3VabuBDp+aq8V7JsVQZv0MQKpZcU3siQLwHTqtdkBIfUlBnGyW0rnjdc4h7bOa6xaRYgjmjzC4olqqs72QoV5qbvu6vCqzsunhP8w6FD+y2fVGvfQr9+m4tJ5jg4eIgoL/Pe0LajTxVTRqlhFRvmPmFf4ijvhUlNoD3NOhPxQWtMh7ZDt4G4JTmHdIgqpoPNJ+6e4fh1Vjh3dqP1QTq1h+fNVNXEtvAJPJT8Ubc/wBVWBkO4H86aIJJqTA3f09VWV6I3j9lMFSDYJZe03+/2QSW1gy3eESf05pw4mRAnlb86jVRKdQRbSY00Snv3TvX6xz+6CzpOBE6+iTiTafn9IuoVWpEEEacXGD8+SiY7MYY6N2REidPgEEHE5tuvO6YcJmB9NVT5xtB+7d7yY5wR53Cg4muDefoLWjiEH7V5vM02+cR9kETE51GJ3qZknTjf6o32SyZxa11S8d0chMwEP7E7H3FaqLnutPAc/Fapl2DgDggs8HTAaABCsKNKFGwwU5pQLaIXQ9eaxL3QNECCF51SEl71Fr1LXQN4rGTIFlmmb4r3eZNPCowerCR9QjXH5rTaSHODbTJMQsWzraT3mOYQ6WskAjq79Ag3HBYuW6qFjWdsEKkyXM95oV4wzCB+ph95o5/RQsHW3X7h1Hd6jl5K6o4UbnkqTMcOZDmzvtuPJBYYh8xMDzjRQq9aJgi3JOUa4qsDt4W1bHdPnwKqM0xRkgA2/PBBObiQOF0tlYETf0hQMCd+5JJImwm/lorljRF6bvVo+BKCM7FWNh2XB/rE+m8fTzVg4ieR0iwMRP1KosVIBadJaQecOb4cwFZYLETYgTIif8ALx8wgTiqzgD2gIHEH0mUKZpmtT/Eb6H0jeCKsyG/TJETqI9CBHks9zirY3jX9EA3mmdua5zA+eoAb9+nFe2Wyc4ir718ljCDe8nzT2D2Er4ntsdTubgm4B8Ee5PsbWwtIN3d8alzO0PTggssqZcWRHQozdV2U0I1F+R1V46wQKoCdAp1ChxKZwrbKW19kHXGFGqV1GxeMvEqlx+chgN5QXFfGgIO2r21p4dpJdflxPgqjP8AbltNhJd5TeVkOcZs/E1S9xPQcAEEnONoauKquc9x3ZMNmwHXmq91JzHtLhG81tRvVrp3T8FMwIptfT943ep7wL2gwXgX3d7gDEHpKu/aJmn7VVo12UxTY2k2lDRDQAZYJ6bxHogJtmMSdxpnl4o7yx5KzPYzGhze0dOX3Wh5ZmNMCxk8UBphGSxQMwwgMnQruWZoCrOtRDxIQA2JpFjt9tjx69CPqqytvVi8gO3Wd46QTFj1v8kXZnk1QAllMv5iRJ9Sntk8t3sC0VWFj6suqNIhwcSRDuoAA8kFJldHdZ2TAIMDyGnol18TDj+vJLdSNI+70LTE8+yb+YVbvE/zH0+6CfmtLfYd3vC/KYIMdPqqDLM4ivuifPodfCOPVEFAgDvC+sXjiD4GefACFn22NE4bEsrNJax3ZPiJ9LFBoFfENDASXDd3udySCIlZztFiRvOLdDp56hWwzj3rGkuGgifG6HsW73tRoF4NxzE2+CC3yrFPo0gQbkx9TZHuW525lNvP6nmgyrhWOqU6YsGa21JuZV9iMLuwB4xPPRAX4XOmVI3mgnSRqnMQ0Pux1hqDr5c0L4JpAN9ApOHxJHE2QFWDdItdP15iwKoMNmjmCRy0KsaW0LSLgjwQC+0ec/s4c5+8G84MLNtqNt2utSdJmZWke1Wq7EZc9mGBqOLm7wGu6DLl88uBBIIg6GeHkgVjcW6o4ucZJSsHWDTOqYcuBBIqVd506BH+UYKnUbTYQ1zS3dIJtBgmTwNlnbXLQ9nK7TTZEGIkIOY/YGvg96th6jH0GtL3Ne7ccxobvETcPESAbd26vNjqdXEhri1tJp4G7iOcK4w2MFRnuXDsvY5jp0II3ePiVS7H4k0nupO1Y4t/0mJ8xdBqmWZFTYATLz108miytgFEy2rLQpiDyjYCpLT0c8ejj9ErE4xlMdpwHTifAIf/AOLdp4YYa928DrcgSLaaIH8/wzHPDuIbB68vMXQ8/BXsbeCm1MVFjoeXBMOpdT6II76AaRrHIXjj8ghHbWszEUzR0OoPJw7p8OCLM2x8NuY5Drp9Cs/zvHtDSfP7fFANYDNN2mWk9oWPG8/YIn2Tyve7ZkjUk8IugXDtNSuI/iN1sGAw4pUBFi4BvpqfVB3KsFvvc7+YjgrJtIuqSDofgFzDU/dUp4xfxKeyit8bXQSCIAtBN/wpdJ0xNpUmvVBMc0plMDgYQRqjzo0rmIdwiycxFBsyCRHBQKz7wD1QLdWLBut4n8usR2vrh+LqkNDe0Z6nmtezLF7rHu4NaVhuIqFznONySSUDBXpXSklB6VdZNmppEcfoqUJ+mUGkYLNN8DtRIjkbSRHTX8smcqzZtTGvFMkkQHW1cLGOJ0F0J4HMtzWVOyraQsMNY2noJY0B0AySSdT4oN7y7O6dOnLjcCSONlFzDbB0nchoB11J9bLPMPmDw8Bzy4aEm0tddrtPD4ohw9Ilsm5HZNtRwNvRBYVqpqGS64ve8tP2SKDBO7BaNRBt5eB+ai4CoWxxc0xINiOE/wBvyKsathaZHaE69RfWxI8UEynR3mzbqev2K4aX9QXcLXkTNnenQkcEuowSez8SgyPaDaQga3vb88vignEYxzzJKl5g8l8OMiY+Kl4DZsVHubvkbs/wzMHxCBnZmqG1d5zSY4gTdaazG06xYG1AC0CRxBmVGyTZ2lTpbsTBuTxMLtfZSm4728QTy/3QEmJYSwakOmYFrJ7LKIbzsFTNwz6VGW1HdkQAdI9VU5dtfUBhzWukxxbogOMOw71/FTRWtc6Ksy3G74ndA08lZ4toHAHhxHyQMPqSCVAqNEzCmbocIgjwP6JjGUYbAQDG01Q/s1SO8QY69FnWH2bduku7JA48r3tw7JutSzzDwGDqOHifoqPEYUBxEyLfER9z5oMurU4KZcFb5/hwyq4DmqooGk+xMlScPTkE8h9YQc307h60GdeiZdUE90eZN/SEulWbPcj+531KA+y/Ee8pMcLlnYPg67T4C4RZleMDmtNu1LHjrMT0vdBGyleW1Bp+7J82GWlFGQUJbVM6Br/M9n6BBcMobpnTn58x48VY0JgjiLjw4i/Hj6qrp4gkwf4rHj0J84S6OPcPd8ySJ8J/8fiUFvh2w4gXBuL2ExPnPzTstNy6/mo2PxYY1pDRe4v3dPVOUmvcA4VN2eAaIHqg/9k=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/>
            <a:endParaRPr lang="en-US" altLang="en-US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31760" name="Picture 26" descr="http://t1.gstatic.com/images?q=tbn:ANd9GcQu-YQbjwLKLjSqiKE0KQ8-LgergukeK3c4FFkqeIzqTo2x_CK-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898232" y="4581546"/>
            <a:ext cx="2203449" cy="1109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61" name="Picture 28" descr="http://www.ticklethewire.com/wp-content/uploads/2009/09/question-mark-150x150.jp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0210800" y="4581525"/>
            <a:ext cx="1371600" cy="102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759652" y="863601"/>
            <a:ext cx="10972800" cy="680720"/>
          </a:xfrm>
        </p:spPr>
        <p:txBody>
          <a:bodyPr>
            <a:normAutofit/>
          </a:bodyPr>
          <a:lstStyle/>
          <a:p>
            <a:endParaRPr lang="en-US" sz="3600" dirty="0">
              <a:solidFill>
                <a:srgbClr val="C00000"/>
              </a:solidFill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12192000" cy="6857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1812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 smtClean="0">
                <a:solidFill>
                  <a:srgbClr val="C00000"/>
                </a:solidFill>
              </a:rPr>
              <a:t>Условия размещения </a:t>
            </a:r>
            <a:r>
              <a:rPr lang="ru-RU" sz="3600" dirty="0">
                <a:solidFill>
                  <a:srgbClr val="C00000"/>
                </a:solidFill>
              </a:rPr>
              <a:t>диссертации в </a:t>
            </a:r>
            <a:r>
              <a:rPr lang="en-US" sz="3600" dirty="0">
                <a:solidFill>
                  <a:srgbClr val="C00000"/>
                </a:solidFill>
              </a:rPr>
              <a:t> ProQuest?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74323" y="1188720"/>
            <a:ext cx="11233052" cy="4754880"/>
          </a:xfrm>
        </p:spPr>
        <p:txBody>
          <a:bodyPr/>
          <a:lstStyle/>
          <a:p>
            <a:r>
              <a:rPr lang="en-US" b="1" dirty="0" smtClean="0">
                <a:latin typeface="+mn-lt"/>
              </a:rPr>
              <a:t>Submit Dissertations or Theses </a:t>
            </a:r>
            <a:r>
              <a:rPr lang="en-US" dirty="0" smtClean="0">
                <a:latin typeface="+mn-lt"/>
                <a:hlinkClick r:id="rId3"/>
              </a:rPr>
              <a:t>http://www.proquest.com/products-services/</a:t>
            </a:r>
            <a:r>
              <a:rPr lang="en-US" dirty="0" smtClean="0">
                <a:hlinkClick r:id="rId4"/>
              </a:rPr>
              <a:t>dissertations/submit-a-dissertation.html</a:t>
            </a:r>
            <a:r>
              <a:rPr lang="ru-RU" dirty="0" smtClean="0"/>
              <a:t> </a:t>
            </a:r>
            <a:endParaRPr lang="en-US" dirty="0" smtClean="0"/>
          </a:p>
          <a:p>
            <a:pPr>
              <a:buNone/>
            </a:pPr>
            <a:endParaRPr lang="ru-RU" dirty="0" smtClean="0">
              <a:latin typeface="+mn-lt"/>
            </a:endParaRPr>
          </a:p>
          <a:p>
            <a:endParaRPr lang="ru-RU" dirty="0" smtClean="0">
              <a:latin typeface="+mn-lt"/>
              <a:hlinkClick r:id="rId5"/>
            </a:endParaRPr>
          </a:p>
          <a:p>
            <a:r>
              <a:rPr lang="en-US" dirty="0" smtClean="0">
                <a:hlinkClick r:id="rId5"/>
              </a:rPr>
              <a:t>Why submit  </a:t>
            </a:r>
            <a:endParaRPr lang="en-US" dirty="0" smtClean="0"/>
          </a:p>
          <a:p>
            <a:r>
              <a:rPr lang="en-US" dirty="0" smtClean="0">
                <a:hlinkClick r:id="rId6"/>
              </a:rPr>
              <a:t>How to submit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71812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758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2540000" y="3200400"/>
            <a:ext cx="3657600" cy="457200"/>
          </a:xfrm>
          <a:prstGeom prst="rect">
            <a:avLst/>
          </a:prstGeom>
          <a:noFill/>
          <a:ln w="2844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altLang="ru-RU" sz="2400" smtClean="0">
              <a:solidFill>
                <a:srgbClr val="FFFFFF"/>
              </a:solidFill>
              <a:ea typeface="SimSun" pitchFamily="2" charset="-122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strVal val="1+#ppt_h/2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861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963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320800" y="5257800"/>
            <a:ext cx="5892800" cy="609600"/>
          </a:xfrm>
          <a:prstGeom prst="rect">
            <a:avLst/>
          </a:prstGeom>
          <a:noFill/>
          <a:ln w="28440">
            <a:solidFill>
              <a:srgbClr val="FF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ru-RU" altLang="ru-RU" sz="2400" smtClean="0">
              <a:solidFill>
                <a:srgbClr val="FFFFFF"/>
              </a:solidFill>
              <a:ea typeface="SimSun" pitchFamily="2" charset="-122"/>
              <a:cs typeface="Arial Unicode MS" pitchFamily="34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additive="repl"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repl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  <p:tav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repl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100000">
                                          <p:val>
                                            <p:strVal val="1+#ppt_h/2"/>
                                          </p:val>
                                        </p:tav>
                                        <p:tav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1" name="Rectangle 18438"/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sp>
      <p:pic>
        <p:nvPicPr>
          <p:cNvPr id="1026" name="Picture 2" descr="Image result for thesis submiss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32" r="9091" b="5159"/>
          <a:stretch/>
        </p:blipFill>
        <p:spPr bwMode="auto">
          <a:xfrm>
            <a:off x="23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42" name="Rectangle 73">
            <a:extLst>
              <a:ext uri="{FF2B5EF4-FFF2-40B4-BE49-F238E27FC236}">
                <a16:creationId xmlns:a16="http://schemas.microsoft.com/office/drawing/2014/main" id="{724CD679-7405-4CD3-A92A-9469F279A59D}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92" y="321182"/>
            <a:ext cx="5735591" cy="5896743"/>
          </a:xfrm>
          <a:prstGeom prst="rect">
            <a:avLst/>
          </a:prstGeom>
          <a:solidFill>
            <a:schemeClr val="bg1">
              <a:alpha val="90000"/>
            </a:schemeClr>
          </a:solidFill>
          <a:ln w="127000" cap="sq" cmpd="thinThick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336892" y="353747"/>
            <a:ext cx="5735591" cy="945677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ru-RU" sz="3600" dirty="0">
                <a:solidFill>
                  <a:srgbClr val="C00000"/>
                </a:solidFill>
                <a:ea typeface="+mj-ea"/>
                <a:cs typeface="+mj-cs"/>
              </a:rPr>
              <a:t>Простой процесс  размещения диссертаций в </a:t>
            </a:r>
            <a:r>
              <a:rPr lang="en-US" sz="3600" dirty="0">
                <a:solidFill>
                  <a:srgbClr val="C00000"/>
                </a:solidFill>
                <a:ea typeface="+mj-ea"/>
                <a:cs typeface="+mj-cs"/>
              </a:rPr>
              <a:t>ProQues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36884" y="1563162"/>
            <a:ext cx="5611568" cy="4046308"/>
          </a:xfrm>
        </p:spPr>
        <p:txBody>
          <a:bodyPr vert="horz" lIns="91440" tIns="45720" rIns="91440" bIns="45720" rtlCol="0">
            <a:noAutofit/>
          </a:bodyPr>
          <a:lstStyle/>
          <a:p>
            <a:pPr marL="0" lvl="2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ru-RU" sz="1800" b="1" dirty="0">
                <a:latin typeface="+mn-lt"/>
                <a:ea typeface="+mn-ea"/>
                <a:cs typeface="+mn-cs"/>
              </a:rPr>
              <a:t>Для университетов доступны  различные опции размещения</a:t>
            </a:r>
            <a:endParaRPr lang="en-US" sz="1800" b="1" dirty="0">
              <a:latin typeface="+mn-lt"/>
              <a:ea typeface="+mn-ea"/>
              <a:cs typeface="+mn-cs"/>
            </a:endParaRPr>
          </a:p>
          <a:p>
            <a:pPr marL="742950" lvl="4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  <a:ea typeface="+mn-ea"/>
                <a:cs typeface="+mn-cs"/>
              </a:rPr>
              <a:t>Выгрузка из институционального репозитория</a:t>
            </a:r>
            <a:endParaRPr lang="en-US" dirty="0">
              <a:latin typeface="+mn-lt"/>
              <a:ea typeface="+mn-ea"/>
              <a:cs typeface="+mn-cs"/>
            </a:endParaRPr>
          </a:p>
          <a:p>
            <a:pPr marL="742950" lvl="4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  <a:ea typeface="+mn-ea"/>
                <a:cs typeface="+mn-cs"/>
              </a:rPr>
              <a:t>Использование онлайн сервиса </a:t>
            </a:r>
            <a:r>
              <a:rPr lang="en-US" dirty="0">
                <a:latin typeface="+mn-lt"/>
                <a:ea typeface="+mn-ea"/>
                <a:cs typeface="+mn-cs"/>
              </a:rPr>
              <a:t>ETD Administrator</a:t>
            </a:r>
          </a:p>
          <a:p>
            <a:pPr marL="0" lvl="3" indent="0">
              <a:lnSpc>
                <a:spcPct val="90000"/>
              </a:lnSpc>
              <a:spcBef>
                <a:spcPts val="600"/>
              </a:spcBef>
              <a:buNone/>
            </a:pPr>
            <a:r>
              <a:rPr lang="ru-RU" b="1" dirty="0">
                <a:latin typeface="+mn-lt"/>
                <a:ea typeface="+mn-ea"/>
                <a:cs typeface="+mn-cs"/>
              </a:rPr>
              <a:t>Возможность включения данных в любых форматах</a:t>
            </a:r>
            <a:r>
              <a:rPr lang="en-US" b="1" dirty="0">
                <a:latin typeface="+mn-lt"/>
                <a:ea typeface="+mn-ea"/>
                <a:cs typeface="+mn-cs"/>
              </a:rPr>
              <a:t>:</a:t>
            </a:r>
            <a:r>
              <a:rPr lang="en-US" dirty="0">
                <a:latin typeface="+mn-lt"/>
                <a:ea typeface="+mn-ea"/>
                <a:cs typeface="+mn-cs"/>
              </a:rPr>
              <a:t> </a:t>
            </a:r>
          </a:p>
          <a:p>
            <a:pPr marL="908050" lvl="4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>
                <a:latin typeface="+mn-lt"/>
                <a:ea typeface="+mn-ea"/>
                <a:cs typeface="+mn-cs"/>
              </a:rPr>
              <a:t>PDF </a:t>
            </a:r>
          </a:p>
          <a:p>
            <a:pPr marL="908050" lvl="4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  <a:ea typeface="+mn-ea"/>
                <a:cs typeface="+mn-cs"/>
              </a:rPr>
              <a:t>Мультимедиа файлы</a:t>
            </a:r>
            <a:r>
              <a:rPr lang="en-US" dirty="0">
                <a:latin typeface="+mn-lt"/>
                <a:ea typeface="+mn-ea"/>
                <a:cs typeface="+mn-cs"/>
              </a:rPr>
              <a:t> (</a:t>
            </a:r>
            <a:r>
              <a:rPr lang="ru-RU" dirty="0">
                <a:latin typeface="+mn-lt"/>
                <a:ea typeface="+mn-ea"/>
                <a:cs typeface="+mn-cs"/>
              </a:rPr>
              <a:t>аудио, видео и т.д.</a:t>
            </a:r>
            <a:r>
              <a:rPr lang="en-US" dirty="0">
                <a:latin typeface="+mn-lt"/>
                <a:ea typeface="+mn-ea"/>
                <a:cs typeface="+mn-cs"/>
              </a:rPr>
              <a:t>)</a:t>
            </a:r>
          </a:p>
          <a:p>
            <a:pPr marL="908050" lvl="4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  <a:ea typeface="+mn-ea"/>
                <a:cs typeface="+mn-cs"/>
              </a:rPr>
              <a:t>Массивы данных</a:t>
            </a:r>
            <a:endParaRPr lang="en-US" dirty="0">
              <a:latin typeface="+mn-lt"/>
              <a:ea typeface="+mn-ea"/>
              <a:cs typeface="+mn-cs"/>
            </a:endParaRPr>
          </a:p>
        </p:txBody>
      </p:sp>
      <p:cxnSp>
        <p:nvCxnSpPr>
          <p:cNvPr id="3" name="Straight Connector 2"/>
          <p:cNvCxnSpPr>
            <a:cxnSpLocks/>
          </p:cNvCxnSpPr>
          <p:nvPr/>
        </p:nvCxnSpPr>
        <p:spPr>
          <a:xfrm>
            <a:off x="586073" y="1553163"/>
            <a:ext cx="5486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19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182881"/>
            <a:ext cx="12192000" cy="680720"/>
          </a:xfrm>
        </p:spPr>
        <p:txBody>
          <a:bodyPr/>
          <a:lstStyle/>
          <a:p>
            <a:r>
              <a:rPr lang="ru-RU" sz="3200" dirty="0"/>
              <a:t>Как разместить диссертацию в </a:t>
            </a:r>
            <a:r>
              <a:rPr lang="en-GB" sz="3200" dirty="0"/>
              <a:t>ProQuest </a:t>
            </a:r>
            <a:r>
              <a:rPr lang="ru-RU" sz="3200" dirty="0"/>
              <a:t> через </a:t>
            </a:r>
            <a:r>
              <a:rPr lang="en-GB" sz="3200" dirty="0"/>
              <a:t>– ETD</a:t>
            </a:r>
            <a:r>
              <a:rPr lang="ru-RU" sz="3200" dirty="0"/>
              <a:t> </a:t>
            </a:r>
            <a:r>
              <a:rPr lang="en-GB" sz="3200" dirty="0"/>
              <a:t> Administrator</a:t>
            </a:r>
            <a:endParaRPr lang="en-US" altLang="en-US" sz="32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/>
          <a:srcRect b="1528"/>
          <a:stretch/>
        </p:blipFill>
        <p:spPr>
          <a:xfrm>
            <a:off x="1188720" y="1005516"/>
            <a:ext cx="9144000" cy="5693458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425047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4"/>
          <p:cNvSpPr>
            <a:spLocks noChangeArrowheads="1"/>
          </p:cNvSpPr>
          <p:nvPr/>
        </p:nvSpPr>
        <p:spPr bwMode="auto">
          <a:xfrm>
            <a:off x="265044" y="2248525"/>
            <a:ext cx="11622157" cy="4227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742950" lvl="1" indent="-285750" defTabSz="457200" fontAlgn="base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2800" b="1" dirty="0" smtClean="0">
                <a:solidFill>
                  <a:prstClr val="white"/>
                </a:solidFill>
                <a:ea typeface="Arial Unicode MS" pitchFamily="34" charset="-128"/>
                <a:cs typeface="Arial Unicode MS" pitchFamily="34" charset="-128"/>
              </a:rPr>
              <a:t>         </a:t>
            </a:r>
          </a:p>
          <a:p>
            <a:pPr marL="742950" lvl="1" indent="-285750" defTabSz="457200" fontAlgn="base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ru-RU" sz="2800" b="1" dirty="0" smtClean="0">
              <a:solidFill>
                <a:prstClr val="white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971550" lvl="1" indent="-514350" defTabSz="457200" fontAlgn="base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ru-RU" sz="3200" dirty="0" smtClean="0">
                <a:solidFill>
                  <a:prstClr val="white"/>
                </a:solidFill>
                <a:ea typeface="Arial Unicode MS" pitchFamily="34" charset="-128"/>
                <a:cs typeface="Arial Unicode MS" pitchFamily="34" charset="-128"/>
              </a:rPr>
              <a:t>Основа - Архив Библиотеки Конгресса США</a:t>
            </a:r>
          </a:p>
          <a:p>
            <a:pPr marL="971550" lvl="1" indent="-514350" defTabSz="457200" fontAlgn="base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ru-RU" sz="3200" dirty="0" smtClean="0">
                <a:solidFill>
                  <a:prstClr val="white"/>
                </a:solidFill>
                <a:ea typeface="Arial Unicode MS" pitchFamily="34" charset="-128"/>
                <a:cs typeface="Arial Unicode MS" pitchFamily="34" charset="-128"/>
              </a:rPr>
              <a:t>Сотрудничество с 3000 научными организациями всего мира</a:t>
            </a:r>
          </a:p>
          <a:p>
            <a:pPr marL="971550" lvl="1" indent="-514350" defTabSz="457200" fontAlgn="base" hangingPunct="0">
              <a:lnSpc>
                <a:spcPct val="93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ru-RU" sz="3200" dirty="0" smtClean="0">
                <a:solidFill>
                  <a:prstClr val="white"/>
                </a:solidFill>
                <a:ea typeface="Arial Unicode MS" pitchFamily="34" charset="-128"/>
                <a:cs typeface="Arial Unicode MS" pitchFamily="34" charset="-128"/>
              </a:rPr>
              <a:t>За год в базе совершается более 200 млн. поисковых запросов</a:t>
            </a:r>
            <a:endParaRPr lang="en-US" sz="3200" dirty="0" smtClean="0">
              <a:solidFill>
                <a:prstClr val="white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defTabSz="457200" fontAlgn="base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</a:pPr>
            <a:endParaRPr lang="en-US" altLang="en-US" sz="2400" b="1" dirty="0" smtClean="0">
              <a:solidFill>
                <a:prstClr val="white"/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ETD Administrator</a:t>
            </a:r>
          </a:p>
        </p:txBody>
      </p:sp>
      <p:sp>
        <p:nvSpPr>
          <p:cNvPr id="40964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400" b="1" dirty="0"/>
              <a:t>The ProQuest ETD Administrator </a:t>
            </a:r>
            <a:r>
              <a:rPr lang="ru-RU" altLang="en-US" sz="2400" b="1" dirty="0"/>
              <a:t> - бесплатная онлайн система размещения </a:t>
            </a:r>
            <a:r>
              <a:rPr lang="en-US" altLang="en-US" sz="2400" dirty="0"/>
              <a:t>  </a:t>
            </a:r>
          </a:p>
          <a:p>
            <a:r>
              <a:rPr lang="ru-RU" altLang="en-US" sz="2400" dirty="0"/>
              <a:t>Для каждой организации создается канал </a:t>
            </a:r>
            <a:r>
              <a:rPr lang="en-US" altLang="en-US" sz="2400" dirty="0"/>
              <a:t>ETD Administrator </a:t>
            </a:r>
            <a:r>
              <a:rPr lang="ru-RU" altLang="en-US" sz="2400" dirty="0"/>
              <a:t>с индивидуальными настройками</a:t>
            </a:r>
            <a:r>
              <a:rPr lang="en-US" altLang="en-US" sz="2400" b="1" dirty="0"/>
              <a:t>  </a:t>
            </a:r>
          </a:p>
          <a:p>
            <a:r>
              <a:rPr lang="ru-RU" altLang="en-US" sz="2400" dirty="0"/>
              <a:t>Более </a:t>
            </a:r>
            <a:r>
              <a:rPr lang="en-US" altLang="en-US" sz="2400" b="1" dirty="0"/>
              <a:t>700 </a:t>
            </a:r>
            <a:r>
              <a:rPr lang="ru-RU" altLang="en-US" sz="2400" b="1" dirty="0"/>
              <a:t>университетов </a:t>
            </a:r>
            <a:r>
              <a:rPr lang="ru-RU" altLang="en-US" sz="2400" dirty="0"/>
              <a:t>уже используют </a:t>
            </a:r>
            <a:r>
              <a:rPr lang="en-US" altLang="en-US" sz="2400" dirty="0"/>
              <a:t>ETD Administrator </a:t>
            </a:r>
            <a:r>
              <a:rPr lang="ru-RU" altLang="en-US" sz="2400" dirty="0"/>
              <a:t>для размещения диссертаций в</a:t>
            </a:r>
            <a:r>
              <a:rPr lang="en-US" altLang="en-US" sz="2400" dirty="0"/>
              <a:t> ProQuest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/>
          <a:srcRect l="1768" t="67895" r="3386" b="13333"/>
          <a:stretch/>
        </p:blipFill>
        <p:spPr>
          <a:xfrm>
            <a:off x="617220" y="4981339"/>
            <a:ext cx="10287000" cy="1287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5207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1915" y="315812"/>
            <a:ext cx="11253537" cy="791105"/>
          </a:xfrm>
        </p:spPr>
        <p:txBody>
          <a:bodyPr>
            <a:normAutofit fontScale="90000"/>
          </a:bodyPr>
          <a:lstStyle/>
          <a:p>
            <a:r>
              <a:rPr lang="ru-RU" altLang="en-US" sz="3600" dirty="0"/>
              <a:t>Редакторы </a:t>
            </a:r>
            <a:r>
              <a:rPr lang="en-GB" altLang="en-US" sz="3600" dirty="0"/>
              <a:t>ProQuest </a:t>
            </a:r>
            <a:r>
              <a:rPr lang="ru-RU" altLang="en-US" sz="3600" dirty="0"/>
              <a:t>обеспечивают раскрытие контента</a:t>
            </a:r>
            <a:endParaRPr lang="en-GB" sz="3600" dirty="0">
              <a:solidFill>
                <a:srgbClr val="C00000"/>
              </a:solidFill>
            </a:endParaRPr>
          </a:p>
        </p:txBody>
      </p:sp>
      <p:grpSp>
        <p:nvGrpSpPr>
          <p:cNvPr id="2" name="Group 6">
            <a:extLst>
              <a:ext uri="{FF2B5EF4-FFF2-40B4-BE49-F238E27FC236}">
                <a16:creationId xmlns:a16="http://schemas.microsoft.com/office/drawing/2014/main" id="{96C67780-06A9-4AFD-B96F-7718D4E4F549}"/>
              </a:ext>
            </a:extLst>
          </p:cNvPr>
          <p:cNvGrpSpPr/>
          <p:nvPr/>
        </p:nvGrpSpPr>
        <p:grpSpPr>
          <a:xfrm>
            <a:off x="841776" y="1727677"/>
            <a:ext cx="9909655" cy="3699761"/>
            <a:chOff x="1284527" y="1804674"/>
            <a:chExt cx="9031704" cy="3305511"/>
          </a:xfrm>
        </p:grpSpPr>
        <p:grpSp>
          <p:nvGrpSpPr>
            <p:cNvPr id="7" name="Group 1"/>
            <p:cNvGrpSpPr/>
            <p:nvPr/>
          </p:nvGrpSpPr>
          <p:grpSpPr>
            <a:xfrm>
              <a:off x="1284527" y="1804674"/>
              <a:ext cx="9031704" cy="976400"/>
              <a:chOff x="35366" y="2189685"/>
              <a:chExt cx="9031704" cy="976400"/>
            </a:xfrm>
          </p:grpSpPr>
          <p:sp>
            <p:nvSpPr>
              <p:cNvPr id="4" name="Freeform: Shape 3"/>
              <p:cNvSpPr/>
              <p:nvPr/>
            </p:nvSpPr>
            <p:spPr>
              <a:xfrm>
                <a:off x="35366" y="2189685"/>
                <a:ext cx="2441001" cy="976400"/>
              </a:xfrm>
              <a:custGeom>
                <a:avLst/>
                <a:gdLst>
                  <a:gd name="connsiteX0" fmla="*/ 0 w 2441001"/>
                  <a:gd name="connsiteY0" fmla="*/ 0 h 976400"/>
                  <a:gd name="connsiteX1" fmla="*/ 1952801 w 2441001"/>
                  <a:gd name="connsiteY1" fmla="*/ 0 h 976400"/>
                  <a:gd name="connsiteX2" fmla="*/ 2441001 w 2441001"/>
                  <a:gd name="connsiteY2" fmla="*/ 488200 h 976400"/>
                  <a:gd name="connsiteX3" fmla="*/ 1952801 w 2441001"/>
                  <a:gd name="connsiteY3" fmla="*/ 976400 h 976400"/>
                  <a:gd name="connsiteX4" fmla="*/ 0 w 2441001"/>
                  <a:gd name="connsiteY4" fmla="*/ 976400 h 976400"/>
                  <a:gd name="connsiteX5" fmla="*/ 488200 w 2441001"/>
                  <a:gd name="connsiteY5" fmla="*/ 488200 h 976400"/>
                  <a:gd name="connsiteX6" fmla="*/ 0 w 2441001"/>
                  <a:gd name="connsiteY6" fmla="*/ 0 h 9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41001" h="976400">
                    <a:moveTo>
                      <a:pt x="0" y="0"/>
                    </a:moveTo>
                    <a:lnTo>
                      <a:pt x="1952801" y="0"/>
                    </a:lnTo>
                    <a:lnTo>
                      <a:pt x="2441001" y="488200"/>
                    </a:lnTo>
                    <a:lnTo>
                      <a:pt x="1952801" y="976400"/>
                    </a:lnTo>
                    <a:lnTo>
                      <a:pt x="0" y="976400"/>
                    </a:lnTo>
                    <a:lnTo>
                      <a:pt x="488200" y="4882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1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1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44207" tIns="18669" rIns="506869" bIns="18669" numCol="1" spcCol="1270" anchor="ctr" anchorCtr="0">
                <a:noAutofit/>
              </a:bodyPr>
              <a:lstStyle/>
              <a:p>
                <a:pPr algn="ctr">
                  <a:defRPr/>
                </a:pPr>
                <a:r>
                  <a:rPr lang="ru-RU" sz="1400" dirty="0">
                    <a:solidFill>
                      <a:prstClr val="white"/>
                    </a:solidFill>
                  </a:rPr>
                  <a:t>Подача заявки автором в</a:t>
                </a:r>
                <a:r>
                  <a:rPr lang="en-IN" sz="1400" dirty="0">
                    <a:solidFill>
                      <a:prstClr val="white"/>
                    </a:solidFill>
                  </a:rPr>
                  <a:t> ProQuest</a:t>
                </a:r>
              </a:p>
            </p:txBody>
          </p:sp>
          <p:sp>
            <p:nvSpPr>
              <p:cNvPr id="5" name="Freeform: Shape 4"/>
              <p:cNvSpPr/>
              <p:nvPr/>
            </p:nvSpPr>
            <p:spPr>
              <a:xfrm>
                <a:off x="2232267" y="2189685"/>
                <a:ext cx="2441001" cy="976400"/>
              </a:xfrm>
              <a:custGeom>
                <a:avLst/>
                <a:gdLst>
                  <a:gd name="connsiteX0" fmla="*/ 0 w 2441001"/>
                  <a:gd name="connsiteY0" fmla="*/ 0 h 976400"/>
                  <a:gd name="connsiteX1" fmla="*/ 1952801 w 2441001"/>
                  <a:gd name="connsiteY1" fmla="*/ 0 h 976400"/>
                  <a:gd name="connsiteX2" fmla="*/ 2441001 w 2441001"/>
                  <a:gd name="connsiteY2" fmla="*/ 488200 h 976400"/>
                  <a:gd name="connsiteX3" fmla="*/ 1952801 w 2441001"/>
                  <a:gd name="connsiteY3" fmla="*/ 976400 h 976400"/>
                  <a:gd name="connsiteX4" fmla="*/ 0 w 2441001"/>
                  <a:gd name="connsiteY4" fmla="*/ 976400 h 976400"/>
                  <a:gd name="connsiteX5" fmla="*/ 488200 w 2441001"/>
                  <a:gd name="connsiteY5" fmla="*/ 488200 h 976400"/>
                  <a:gd name="connsiteX6" fmla="*/ 0 w 2441001"/>
                  <a:gd name="connsiteY6" fmla="*/ 0 h 9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41001" h="976400">
                    <a:moveTo>
                      <a:pt x="0" y="0"/>
                    </a:moveTo>
                    <a:lnTo>
                      <a:pt x="1952801" y="0"/>
                    </a:lnTo>
                    <a:lnTo>
                      <a:pt x="2441001" y="488200"/>
                    </a:lnTo>
                    <a:lnTo>
                      <a:pt x="1952801" y="976400"/>
                    </a:lnTo>
                    <a:lnTo>
                      <a:pt x="0" y="976400"/>
                    </a:lnTo>
                    <a:lnTo>
                      <a:pt x="488200" y="4882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tx2">
                      <a:lumMod val="75000"/>
                      <a:shade val="30000"/>
                      <a:satMod val="115000"/>
                    </a:schemeClr>
                  </a:gs>
                  <a:gs pos="50000">
                    <a:schemeClr val="tx2">
                      <a:lumMod val="75000"/>
                      <a:shade val="67500"/>
                      <a:satMod val="115000"/>
                    </a:schemeClr>
                  </a:gs>
                  <a:gs pos="100000">
                    <a:schemeClr val="tx2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tx2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shade val="80000"/>
                  <a:hueOff val="114426"/>
                  <a:satOff val="-6571"/>
                  <a:lumOff val="10566"/>
                  <a:alphaOff val="0"/>
                </a:schemeClr>
              </a:fillRef>
              <a:effectRef idx="0">
                <a:schemeClr val="accent1">
                  <a:shade val="80000"/>
                  <a:hueOff val="114426"/>
                  <a:satOff val="-6571"/>
                  <a:lumOff val="10566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544207" tIns="18669" rIns="506869" bIns="18669" numCol="1" spcCol="1270" anchor="ctr" anchorCtr="0">
                <a:noAutofit/>
              </a:bodyPr>
              <a:lstStyle/>
              <a:p>
                <a:pPr algn="ctr">
                  <a:defRPr/>
                </a:pPr>
                <a:r>
                  <a:rPr lang="ru-RU" sz="1400" dirty="0">
                    <a:solidFill>
                      <a:prstClr val="white"/>
                    </a:solidFill>
                  </a:rPr>
                  <a:t>Редакторская проверка метаданных</a:t>
                </a:r>
                <a:endParaRPr lang="en-IN" sz="1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" name="Freeform: Shape 5"/>
              <p:cNvSpPr/>
              <p:nvPr/>
            </p:nvSpPr>
            <p:spPr>
              <a:xfrm>
                <a:off x="4429168" y="2189685"/>
                <a:ext cx="2441001" cy="976400"/>
              </a:xfrm>
              <a:custGeom>
                <a:avLst/>
                <a:gdLst>
                  <a:gd name="connsiteX0" fmla="*/ 0 w 2441001"/>
                  <a:gd name="connsiteY0" fmla="*/ 0 h 976400"/>
                  <a:gd name="connsiteX1" fmla="*/ 1952801 w 2441001"/>
                  <a:gd name="connsiteY1" fmla="*/ 0 h 976400"/>
                  <a:gd name="connsiteX2" fmla="*/ 2441001 w 2441001"/>
                  <a:gd name="connsiteY2" fmla="*/ 488200 h 976400"/>
                  <a:gd name="connsiteX3" fmla="*/ 1952801 w 2441001"/>
                  <a:gd name="connsiteY3" fmla="*/ 976400 h 976400"/>
                  <a:gd name="connsiteX4" fmla="*/ 0 w 2441001"/>
                  <a:gd name="connsiteY4" fmla="*/ 976400 h 976400"/>
                  <a:gd name="connsiteX5" fmla="*/ 488200 w 2441001"/>
                  <a:gd name="connsiteY5" fmla="*/ 488200 h 976400"/>
                  <a:gd name="connsiteX6" fmla="*/ 0 w 2441001"/>
                  <a:gd name="connsiteY6" fmla="*/ 0 h 9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41001" h="976400">
                    <a:moveTo>
                      <a:pt x="0" y="0"/>
                    </a:moveTo>
                    <a:lnTo>
                      <a:pt x="1952801" y="0"/>
                    </a:lnTo>
                    <a:lnTo>
                      <a:pt x="2441001" y="488200"/>
                    </a:lnTo>
                    <a:lnTo>
                      <a:pt x="1952801" y="976400"/>
                    </a:lnTo>
                    <a:lnTo>
                      <a:pt x="0" y="976400"/>
                    </a:lnTo>
                    <a:lnTo>
                      <a:pt x="488200" y="4882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75000"/>
                      <a:shade val="30000"/>
                      <a:satMod val="115000"/>
                    </a:schemeClr>
                  </a:gs>
                  <a:gs pos="50000">
                    <a:schemeClr val="accent3">
                      <a:lumMod val="75000"/>
                      <a:shade val="67500"/>
                      <a:satMod val="115000"/>
                    </a:schemeClr>
                  </a:gs>
                  <a:gs pos="100000">
                    <a:schemeClr val="accent3">
                      <a:lumMod val="75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spcFirstLastPara="0" vert="horz" wrap="square" lIns="544207" tIns="18669" rIns="506869" bIns="18669" numCol="1" spcCol="1270" anchor="ctr" anchorCtr="0">
                <a:noAutofit/>
              </a:bodyPr>
              <a:lstStyle/>
              <a:p>
                <a:pPr algn="ctr">
                  <a:defRPr/>
                </a:pPr>
                <a:r>
                  <a:rPr lang="ru-RU" sz="1400" dirty="0">
                    <a:solidFill>
                      <a:prstClr val="white"/>
                    </a:solidFill>
                  </a:rPr>
                  <a:t>Увеличение раскрытия</a:t>
                </a:r>
                <a:endParaRPr lang="en-IN" sz="14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" name="Freeform: Shape 7"/>
              <p:cNvSpPr/>
              <p:nvPr/>
            </p:nvSpPr>
            <p:spPr>
              <a:xfrm>
                <a:off x="6626069" y="2189685"/>
                <a:ext cx="2441001" cy="976400"/>
              </a:xfrm>
              <a:custGeom>
                <a:avLst/>
                <a:gdLst>
                  <a:gd name="connsiteX0" fmla="*/ 0 w 2441001"/>
                  <a:gd name="connsiteY0" fmla="*/ 0 h 976400"/>
                  <a:gd name="connsiteX1" fmla="*/ 1952801 w 2441001"/>
                  <a:gd name="connsiteY1" fmla="*/ 0 h 976400"/>
                  <a:gd name="connsiteX2" fmla="*/ 2441001 w 2441001"/>
                  <a:gd name="connsiteY2" fmla="*/ 488200 h 976400"/>
                  <a:gd name="connsiteX3" fmla="*/ 1952801 w 2441001"/>
                  <a:gd name="connsiteY3" fmla="*/ 976400 h 976400"/>
                  <a:gd name="connsiteX4" fmla="*/ 0 w 2441001"/>
                  <a:gd name="connsiteY4" fmla="*/ 976400 h 976400"/>
                  <a:gd name="connsiteX5" fmla="*/ 488200 w 2441001"/>
                  <a:gd name="connsiteY5" fmla="*/ 488200 h 976400"/>
                  <a:gd name="connsiteX6" fmla="*/ 0 w 2441001"/>
                  <a:gd name="connsiteY6" fmla="*/ 0 h 97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41001" h="976400">
                    <a:moveTo>
                      <a:pt x="0" y="0"/>
                    </a:moveTo>
                    <a:lnTo>
                      <a:pt x="1952801" y="0"/>
                    </a:lnTo>
                    <a:lnTo>
                      <a:pt x="2441001" y="488200"/>
                    </a:lnTo>
                    <a:lnTo>
                      <a:pt x="1952801" y="976400"/>
                    </a:lnTo>
                    <a:lnTo>
                      <a:pt x="0" y="976400"/>
                    </a:lnTo>
                    <a:lnTo>
                      <a:pt x="488200" y="4882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6">
                      <a:lumMod val="50000"/>
                      <a:shade val="30000"/>
                      <a:satMod val="115000"/>
                    </a:schemeClr>
                  </a:gs>
                  <a:gs pos="50000">
                    <a:schemeClr val="accent6">
                      <a:lumMod val="50000"/>
                      <a:shade val="67500"/>
                      <a:satMod val="115000"/>
                    </a:schemeClr>
                  </a:gs>
                  <a:gs pos="100000">
                    <a:schemeClr val="accent6">
                      <a:lumMod val="50000"/>
                      <a:shade val="100000"/>
                      <a:satMod val="115000"/>
                    </a:schemeClr>
                  </a:gs>
                </a:gsLst>
                <a:lin ang="16200000" scaled="1"/>
                <a:tileRect/>
              </a:gradFill>
              <a:ln>
                <a:solidFill>
                  <a:schemeClr val="accent6">
                    <a:lumMod val="50000"/>
                  </a:schemeClr>
                </a:solidFill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spcFirstLastPara="0" vert="horz" wrap="square" lIns="544207" tIns="18669" rIns="506869" bIns="18669" numCol="1" spcCol="1270" anchor="ctr" anchorCtr="0"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r>
                  <a:rPr lang="ru-RU" altLang="en-US" sz="1400" dirty="0">
                    <a:solidFill>
                      <a:prstClr val="white"/>
                    </a:solidFill>
                  </a:rPr>
                  <a:t>Метаданные </a:t>
                </a:r>
                <a:r>
                  <a:rPr lang="en-IN" altLang="en-US" sz="1400" dirty="0">
                    <a:solidFill>
                      <a:prstClr val="white"/>
                    </a:solidFill>
                  </a:rPr>
                  <a:t> </a:t>
                </a:r>
                <a:r>
                  <a:rPr lang="ru-RU" altLang="en-US" sz="1400" dirty="0">
                    <a:solidFill>
                      <a:prstClr val="white"/>
                    </a:solidFill>
                  </a:rPr>
                  <a:t>и</a:t>
                </a:r>
                <a:r>
                  <a:rPr lang="en-IN" altLang="en-US" sz="1400" dirty="0">
                    <a:solidFill>
                      <a:prstClr val="white"/>
                    </a:solidFill>
                  </a:rPr>
                  <a:t> PDF </a:t>
                </a:r>
                <a:r>
                  <a:rPr lang="ru-RU" altLang="en-US" sz="1400" dirty="0">
                    <a:solidFill>
                      <a:prstClr val="white"/>
                    </a:solidFill>
                  </a:rPr>
                  <a:t>включены с возможностью поиска</a:t>
                </a:r>
                <a:endParaRPr lang="en-IN" altLang="en-US" sz="1400" dirty="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1461442" y="3119808"/>
              <a:ext cx="1891319" cy="1459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>
                <a:spcBef>
                  <a:spcPts val="450"/>
                </a:spcBef>
                <a:defRPr/>
              </a:pPr>
              <a:r>
                <a:rPr lang="ru-RU" sz="1600" b="1" dirty="0">
                  <a:solidFill>
                    <a:prstClr val="black"/>
                  </a:solidFill>
                </a:rPr>
                <a:t>Передача</a:t>
              </a:r>
              <a:endParaRPr lang="en-IN" sz="1600" b="1" dirty="0">
                <a:solidFill>
                  <a:prstClr val="black"/>
                </a:solidFill>
              </a:endParaRPr>
            </a:p>
            <a:p>
              <a:pPr marL="0" lvl="2">
                <a:spcBef>
                  <a:spcPts val="450"/>
                </a:spcBef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Автор добавляет  аннотацию и выбирает ключевые слова (на английском языке)</a:t>
              </a:r>
              <a:endParaRPr lang="en-IN" sz="1600" dirty="0">
                <a:solidFill>
                  <a:prstClr val="black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752872" y="3116890"/>
              <a:ext cx="1891319" cy="18309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>
                <a:spcBef>
                  <a:spcPts val="450"/>
                </a:spcBef>
                <a:defRPr/>
              </a:pPr>
              <a:r>
                <a:rPr lang="ru-RU" sz="900" b="1" dirty="0">
                  <a:solidFill>
                    <a:prstClr val="black"/>
                  </a:solidFill>
                </a:rPr>
                <a:t>Проверка</a:t>
              </a:r>
            </a:p>
            <a:p>
              <a:pPr marL="0" lvl="2">
                <a:spcBef>
                  <a:spcPts val="450"/>
                </a:spcBef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Ред. коллегия  из экспертов в научных областях по теме диссертации  и качество каждой заявки</a:t>
              </a:r>
              <a:endParaRPr lang="en-IN" sz="1600" dirty="0">
                <a:solidFill>
                  <a:prstClr val="black"/>
                </a:solidFill>
              </a:endParaRPr>
            </a:p>
            <a:p>
              <a:endParaRPr lang="en-GB" dirty="0">
                <a:solidFill>
                  <a:prstClr val="black"/>
                </a:solidFill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044303" y="3045547"/>
              <a:ext cx="1891319" cy="20646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>
                <a:spcBef>
                  <a:spcPts val="450"/>
                </a:spcBef>
                <a:defRPr/>
              </a:pPr>
              <a:r>
                <a:rPr lang="ru-RU" sz="1400" b="1" dirty="0">
                  <a:solidFill>
                    <a:prstClr val="black"/>
                  </a:solidFill>
                </a:rPr>
                <a:t>Увеличение</a:t>
              </a:r>
              <a:endParaRPr lang="en-IN" sz="1400" b="1" dirty="0">
                <a:solidFill>
                  <a:prstClr val="black"/>
                </a:solidFill>
              </a:endParaRPr>
            </a:p>
            <a:p>
              <a:pPr marL="0" lvl="2">
                <a:spcBef>
                  <a:spcPts val="450"/>
                </a:spcBef>
                <a:defRPr/>
              </a:pPr>
              <a:r>
                <a:rPr lang="ru-RU" sz="1400" dirty="0">
                  <a:solidFill>
                    <a:prstClr val="black"/>
                  </a:solidFill>
                </a:rPr>
                <a:t>Ред. коллегия добавляет </a:t>
              </a:r>
              <a:r>
                <a:rPr lang="ru-RU" sz="1400" dirty="0" smtClean="0">
                  <a:solidFill>
                    <a:prstClr val="black"/>
                  </a:solidFill>
                </a:rPr>
                <a:t>дополнительные </a:t>
              </a:r>
              <a:r>
                <a:rPr lang="ru-RU" sz="1400" dirty="0">
                  <a:solidFill>
                    <a:prstClr val="black"/>
                  </a:solidFill>
                </a:rPr>
                <a:t>ключевые слова и предметные рубрики из контролируемого </a:t>
              </a:r>
              <a:r>
                <a:rPr lang="en-IN" sz="1400" dirty="0">
                  <a:solidFill>
                    <a:prstClr val="black"/>
                  </a:solidFill>
                </a:rPr>
                <a:t>ProQuest</a:t>
              </a:r>
              <a:r>
                <a:rPr lang="ru-RU" sz="1400" dirty="0">
                  <a:solidFill>
                    <a:prstClr val="black"/>
                  </a:solidFill>
                </a:rPr>
                <a:t>  тезауруса</a:t>
              </a:r>
              <a:r>
                <a:rPr lang="en-IN" sz="1400" dirty="0">
                  <a:solidFill>
                    <a:prstClr val="black"/>
                  </a:solidFill>
                </a:rPr>
                <a:t> </a:t>
              </a:r>
              <a:r>
                <a:rPr lang="ru-RU" sz="1400" dirty="0">
                  <a:solidFill>
                    <a:prstClr val="black"/>
                  </a:solidFill>
                </a:rPr>
                <a:t>для максимального раскрытия диссертации</a:t>
              </a:r>
              <a:endParaRPr lang="en-IN" sz="1400" dirty="0">
                <a:solidFill>
                  <a:prstClr val="black"/>
                </a:solidFill>
              </a:endParaRPr>
            </a:p>
            <a:p>
              <a:endParaRPr lang="en-GB" sz="1400" dirty="0">
                <a:solidFill>
                  <a:prstClr val="black"/>
                </a:solidFill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8150073" y="3045547"/>
              <a:ext cx="1891319" cy="16521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2">
                <a:spcBef>
                  <a:spcPts val="450"/>
                </a:spcBef>
                <a:defRPr/>
              </a:pPr>
              <a:r>
                <a:rPr lang="ru-RU" sz="1600" b="1" dirty="0">
                  <a:solidFill>
                    <a:prstClr val="black"/>
                  </a:solidFill>
                </a:rPr>
                <a:t>Включение</a:t>
              </a:r>
              <a:endParaRPr lang="en-IN" sz="1600" b="1" dirty="0">
                <a:solidFill>
                  <a:prstClr val="black"/>
                </a:solidFill>
              </a:endParaRPr>
            </a:p>
            <a:p>
              <a:pPr marL="0" lvl="2">
                <a:spcBef>
                  <a:spcPts val="450"/>
                </a:spcBef>
                <a:defRPr/>
              </a:pPr>
              <a:r>
                <a:rPr lang="ru-RU" sz="1600" dirty="0">
                  <a:solidFill>
                    <a:prstClr val="black"/>
                  </a:solidFill>
                </a:rPr>
                <a:t>Диссертация включена в </a:t>
              </a:r>
              <a:r>
                <a:rPr lang="en-IN" sz="1600" dirty="0">
                  <a:solidFill>
                    <a:prstClr val="black"/>
                  </a:solidFill>
                </a:rPr>
                <a:t>PQDT </a:t>
              </a:r>
              <a:r>
                <a:rPr lang="ru-RU" sz="1600" dirty="0">
                  <a:solidFill>
                    <a:prstClr val="black"/>
                  </a:solidFill>
                </a:rPr>
                <a:t>с широкими возможностями для поиска</a:t>
              </a:r>
              <a:r>
                <a:rPr lang="en-IN" sz="1600" dirty="0">
                  <a:solidFill>
                    <a:prstClr val="black"/>
                  </a:solidFill>
                </a:rPr>
                <a:t>!</a:t>
              </a:r>
            </a:p>
            <a:p>
              <a:endParaRPr lang="en-GB" sz="14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073907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dirty="0" smtClean="0">
                <a:solidFill>
                  <a:srgbClr val="C00000"/>
                </a:solidFill>
              </a:rPr>
              <a:t>Условия размещения </a:t>
            </a:r>
            <a:r>
              <a:rPr lang="ru-RU" sz="3600" dirty="0">
                <a:solidFill>
                  <a:srgbClr val="C00000"/>
                </a:solidFill>
              </a:rPr>
              <a:t>диссертации в </a:t>
            </a:r>
            <a:r>
              <a:rPr lang="en-US" sz="3600" dirty="0">
                <a:solidFill>
                  <a:srgbClr val="C00000"/>
                </a:solidFill>
              </a:rPr>
              <a:t> ProQuest?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Не эксклюзивный договор</a:t>
            </a:r>
            <a:endParaRPr lang="en-US" dirty="0"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Автор / университет сохраняют авторские права</a:t>
            </a:r>
            <a:endParaRPr lang="en-US" dirty="0"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Бесплатное размещение: отсутствие сборов для авторов или университетов</a:t>
            </a:r>
            <a:endParaRPr lang="en-US" dirty="0">
              <a:latin typeface="+mn-lt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dirty="0">
                <a:latin typeface="+mn-lt"/>
              </a:rPr>
              <a:t>Простой процесс </a:t>
            </a:r>
            <a:r>
              <a:rPr lang="ru-RU" dirty="0" smtClean="0">
                <a:latin typeface="+mn-lt"/>
              </a:rPr>
              <a:t>размещения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1812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182880"/>
            <a:ext cx="9467851" cy="669608"/>
          </a:xfrm>
        </p:spPr>
        <p:txBody>
          <a:bodyPr/>
          <a:lstStyle/>
          <a:p>
            <a:pPr eaLnBrk="1" hangingPunct="1"/>
            <a:r>
              <a:rPr lang="ru-RU" altLang="en-US" sz="3600" b="1" dirty="0" smtClean="0">
                <a:solidFill>
                  <a:srgbClr val="C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Технологии</a:t>
            </a:r>
            <a:endParaRPr lang="en-US" altLang="en-US" sz="3600" b="1" dirty="0" smtClean="0">
              <a:solidFill>
                <a:srgbClr val="C00000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736600" y="1600201"/>
            <a:ext cx="4440311" cy="2595563"/>
          </a:xfrm>
        </p:spPr>
        <p:txBody>
          <a:bodyPr rtlCol="0">
            <a:noAutofit/>
          </a:bodyPr>
          <a:lstStyle/>
          <a:p>
            <a:pPr marL="0" indent="0" eaLnBrk="1" fontAlgn="auto" hangingPunct="1">
              <a:spcAft>
                <a:spcPts val="0"/>
              </a:spcAft>
              <a:buFont typeface="Arial"/>
              <a:buNone/>
              <a:defRPr/>
            </a:pPr>
            <a:r>
              <a:rPr lang="ru-RU" dirty="0" smtClean="0"/>
              <a:t>Вы можете присоединить к Вашей диссертации мульти-медиа материалы любого формата:</a:t>
            </a:r>
            <a:endParaRPr lang="en-US" dirty="0" smtClean="0"/>
          </a:p>
          <a:p>
            <a:pPr eaLnBrk="1" fontAlgn="auto" hangingPunct="1"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/>
            </a:pPr>
            <a:r>
              <a:rPr lang="ru-RU" dirty="0" smtClean="0"/>
              <a:t>Аудио</a:t>
            </a:r>
            <a:endParaRPr lang="en-US" dirty="0" smtClean="0"/>
          </a:p>
          <a:p>
            <a:pPr eaLnBrk="1" fontAlgn="auto" hangingPunct="1"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/>
            </a:pPr>
            <a:r>
              <a:rPr lang="ru-RU" dirty="0" smtClean="0"/>
              <a:t>Видео</a:t>
            </a:r>
            <a:endParaRPr lang="en-US" dirty="0" smtClean="0"/>
          </a:p>
          <a:p>
            <a:pPr eaLnBrk="1" fontAlgn="auto" hangingPunct="1"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/>
            </a:pPr>
            <a:r>
              <a:rPr lang="ru-RU" dirty="0" smtClean="0"/>
              <a:t>Массивы данных и др.</a:t>
            </a:r>
            <a:endParaRPr lang="en-US" dirty="0"/>
          </a:p>
        </p:txBody>
      </p:sp>
      <p:pic>
        <p:nvPicPr>
          <p:cNvPr id="86020" name="Picture 2" descr="http://under30ceo.com/wp-content/uploads/2011/04/technology-e1304133112938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801785" y="1600201"/>
            <a:ext cx="5118100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527384" y="1111356"/>
            <a:ext cx="11425269" cy="3853825"/>
          </a:xfrm>
        </p:spPr>
        <p:txBody>
          <a:bodyPr>
            <a:noAutofit/>
          </a:bodyPr>
          <a:lstStyle/>
          <a:p>
            <a:r>
              <a:rPr lang="ru-RU" sz="2800" b="1" i="1" dirty="0">
                <a:solidFill>
                  <a:srgbClr val="C21C22"/>
                </a:solidFill>
              </a:rPr>
              <a:t>Что дает для ученого размещение диссертации в </a:t>
            </a:r>
            <a:r>
              <a:rPr lang="en-US" sz="2800" b="1" i="1" dirty="0">
                <a:solidFill>
                  <a:srgbClr val="C21C22"/>
                </a:solidFill>
              </a:rPr>
              <a:t>PQDT?</a:t>
            </a:r>
            <a:endParaRPr lang="ru-RU" sz="2800" b="1" i="1" dirty="0">
              <a:solidFill>
                <a:srgbClr val="C21C22"/>
              </a:solidFill>
            </a:endParaRPr>
          </a:p>
          <a:p>
            <a:endParaRPr lang="en-US" sz="2800" dirty="0"/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sz="2800" dirty="0"/>
              <a:t>Диссертация становится видима для подписчиков </a:t>
            </a:r>
            <a:r>
              <a:rPr lang="en-US" sz="2800" dirty="0"/>
              <a:t>PQDT </a:t>
            </a:r>
            <a:r>
              <a:rPr lang="ru-RU" sz="2800" dirty="0"/>
              <a:t>всего мира </a:t>
            </a:r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sz="2800" dirty="0"/>
              <a:t>Дает возможность автору диссертации легко найти диссертации и публикации по сходной тематике</a:t>
            </a:r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sz="2800" dirty="0"/>
              <a:t>Позволяет как автору размещаемой диссертации, так и авторам сходных по тематике публикаций, найти возможных кандидатов для проведения совместных исследований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2946BAA-23A0-44EC-A9CB-92033D25F1A4}"/>
              </a:ext>
            </a:extLst>
          </p:cNvPr>
          <p:cNvSpPr txBox="1"/>
          <p:nvPr/>
        </p:nvSpPr>
        <p:spPr>
          <a:xfrm>
            <a:off x="2423871" y="5164916"/>
            <a:ext cx="8277225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prstClr val="black"/>
                </a:solidFill>
              </a:rPr>
              <a:t>Отзыв представителя СПбГУ, О.В. Москалевой 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1833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203701" y="2609850"/>
            <a:ext cx="3575051" cy="1093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1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203710" y="3705230"/>
            <a:ext cx="3577167" cy="614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4" name="Rectangle 2"/>
          <p:cNvSpPr>
            <a:spLocks noGrp="1" noChangeArrowheads="1"/>
          </p:cNvSpPr>
          <p:nvPr>
            <p:ph type="title"/>
          </p:nvPr>
        </p:nvSpPr>
        <p:spPr>
          <a:xfrm>
            <a:off x="410635" y="209550"/>
            <a:ext cx="10098340" cy="1066800"/>
          </a:xfrm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altLang="en-US" b="1" dirty="0" smtClean="0">
                <a:solidFill>
                  <a:srgbClr val="C00000"/>
                </a:solidFill>
              </a:rPr>
              <a:t>Для чего  размещать диссертацию </a:t>
            </a:r>
            <a:br>
              <a:rPr lang="ru-RU" altLang="en-US" b="1" dirty="0" smtClean="0">
                <a:solidFill>
                  <a:srgbClr val="C00000"/>
                </a:solidFill>
              </a:rPr>
            </a:br>
            <a:r>
              <a:rPr lang="ru-RU" altLang="en-US" b="1" dirty="0" smtClean="0">
                <a:solidFill>
                  <a:srgbClr val="C00000"/>
                </a:solidFill>
              </a:rPr>
              <a:t>в </a:t>
            </a:r>
            <a:r>
              <a:rPr lang="en-GB" altLang="en-US" b="1" dirty="0" smtClean="0">
                <a:solidFill>
                  <a:srgbClr val="C00000"/>
                </a:solidFill>
              </a:rPr>
              <a:t>PQDT?</a:t>
            </a:r>
            <a:endParaRPr lang="en-US" altLang="en-US" b="1" dirty="0" smtClean="0">
              <a:solidFill>
                <a:srgbClr val="C00000"/>
              </a:solidFill>
            </a:endParaRPr>
          </a:p>
        </p:txBody>
      </p:sp>
      <p:sp>
        <p:nvSpPr>
          <p:cNvPr id="83973" name="Content Placeholder 6"/>
          <p:cNvSpPr>
            <a:spLocks noGrp="1"/>
          </p:cNvSpPr>
          <p:nvPr>
            <p:ph idx="1"/>
          </p:nvPr>
        </p:nvSpPr>
        <p:spPr>
          <a:xfrm>
            <a:off x="613833" y="1295415"/>
            <a:ext cx="10972800" cy="809625"/>
          </a:xfrm>
        </p:spPr>
        <p:txBody>
          <a:bodyPr/>
          <a:lstStyle/>
          <a:p>
            <a:pPr marL="0" indent="0">
              <a:buFont typeface="Wingdings" pitchFamily="2" charset="2"/>
              <a:buNone/>
            </a:pPr>
            <a:r>
              <a:rPr lang="ru-RU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Диссертации из </a:t>
            </a:r>
            <a:r>
              <a:rPr lang="en-US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P</a:t>
            </a:r>
            <a:r>
              <a:rPr lang="en-GB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QDT </a:t>
            </a:r>
            <a:r>
              <a:rPr lang="ru-RU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индексируются тематическими реферативно-библиографическими базами данных</a:t>
            </a:r>
            <a:r>
              <a:rPr lang="en-US" altLang="en-US" sz="2000" b="1" dirty="0" smtClean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.</a:t>
            </a:r>
          </a:p>
        </p:txBody>
      </p:sp>
      <p:sp>
        <p:nvSpPr>
          <p:cNvPr id="83974" name="AutoShape 2" descr="Image result for INSPEC database"/>
          <p:cNvSpPr>
            <a:spLocks noChangeAspect="1" noChangeArrowheads="1"/>
          </p:cNvSpPr>
          <p:nvPr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sz="2400" smtClean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83975" name="Picture 4" descr="https://www.ebscohost.com/prod-mastheads/Inspec_Masthead_Web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15384" y="2543190"/>
            <a:ext cx="3344333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976" name="AutoShape 6" descr="Image result for scifinder"/>
          <p:cNvSpPr>
            <a:spLocks noChangeAspect="1" noChangeArrowheads="1"/>
          </p:cNvSpPr>
          <p:nvPr/>
        </p:nvSpPr>
        <p:spPr bwMode="auto">
          <a:xfrm>
            <a:off x="410633" y="7938"/>
            <a:ext cx="40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sz="2400" smtClean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83977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15384" y="3255963"/>
            <a:ext cx="3344333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978" name="AutoShape 12" descr="Image result for psycinfo"/>
          <p:cNvSpPr>
            <a:spLocks noChangeAspect="1" noChangeArrowheads="1"/>
          </p:cNvSpPr>
          <p:nvPr/>
        </p:nvSpPr>
        <p:spPr bwMode="auto">
          <a:xfrm>
            <a:off x="613833" y="160338"/>
            <a:ext cx="40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sz="2400" smtClean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83979" name="AutoShape 15" descr="Image result for mathscinet"/>
          <p:cNvSpPr>
            <a:spLocks noChangeAspect="1" noChangeArrowheads="1"/>
          </p:cNvSpPr>
          <p:nvPr/>
        </p:nvSpPr>
        <p:spPr bwMode="auto">
          <a:xfrm>
            <a:off x="817033" y="312738"/>
            <a:ext cx="406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sz="2400" smtClean="0">
              <a:solidFill>
                <a:prstClr val="black"/>
              </a:solidFill>
              <a:ea typeface="ＭＳ Ｐゴシック" pitchFamily="34" charset="-128"/>
              <a:cs typeface="Arial" pitchFamily="34" charset="0"/>
            </a:endParaRPr>
          </a:p>
        </p:txBody>
      </p:sp>
      <p:pic>
        <p:nvPicPr>
          <p:cNvPr id="83980" name="Picture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8149167" y="2546350"/>
            <a:ext cx="32131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1" name="Picture 7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153400" y="3897313"/>
            <a:ext cx="3337984" cy="654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2" name="Picture 10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622810" y="5162565"/>
            <a:ext cx="2529417" cy="8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3" name="Picture 13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229100" y="4625975"/>
            <a:ext cx="35560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4" name="Picture 14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271944" y="4551378"/>
            <a:ext cx="3153833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5" name="Picture 16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28087" y="4106863"/>
            <a:ext cx="3778249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6" name="Picture 18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5384" y="4968890"/>
            <a:ext cx="3443816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7" name="Picture 20"/>
          <p:cNvPicPr>
            <a:picLocks noChangeAspect="1"/>
          </p:cNvPicPr>
          <p:nvPr/>
        </p:nvPicPr>
        <p:blipFill>
          <a:blip r:embed="rId14"/>
          <a:srcRect t="-2" r="55434" b="46640"/>
          <a:stretch>
            <a:fillRect/>
          </a:stretch>
        </p:blipFill>
        <p:spPr bwMode="auto">
          <a:xfrm>
            <a:off x="357717" y="5322903"/>
            <a:ext cx="3359149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8" name="Picture 21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271935" y="5510213"/>
            <a:ext cx="3274484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9" name="Picture 22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8246544" y="3186120"/>
            <a:ext cx="3153833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700" y="1139825"/>
            <a:ext cx="10541000" cy="5218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4995" name="Title 3"/>
          <p:cNvSpPr>
            <a:spLocks noGrp="1"/>
          </p:cNvSpPr>
          <p:nvPr>
            <p:ph type="title"/>
          </p:nvPr>
        </p:nvSpPr>
        <p:spPr>
          <a:xfrm>
            <a:off x="609602" y="274638"/>
            <a:ext cx="9158817" cy="1143000"/>
          </a:xfrm>
        </p:spPr>
        <p:txBody>
          <a:bodyPr/>
          <a:lstStyle/>
          <a:p>
            <a:r>
              <a:rPr lang="ru-RU" altLang="en-US" b="1" dirty="0" smtClean="0">
                <a:solidFill>
                  <a:srgbClr val="C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Отражение в </a:t>
            </a:r>
            <a:r>
              <a:rPr lang="de-DE" altLang="en-US" b="1" dirty="0" smtClean="0">
                <a:solidFill>
                  <a:srgbClr val="C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Google Scholar</a:t>
            </a:r>
            <a:endParaRPr lang="en-US" altLang="en-US" b="1" dirty="0" smtClean="0">
              <a:solidFill>
                <a:srgbClr val="C00000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CA983A-0E76-42A9-9461-651B261F4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Quest </a:t>
            </a:r>
            <a:r>
              <a:rPr lang="ru-RU" dirty="0"/>
              <a:t>помогает защитить </a:t>
            </a:r>
            <a:r>
              <a:rPr lang="ru-RU"/>
              <a:t>права автора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6B377-52F4-43C7-BE18-6E5C03371C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8641" y="1188720"/>
            <a:ext cx="9957435" cy="475488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ProQuest</a:t>
            </a:r>
            <a:r>
              <a:rPr lang="ru-RU" sz="2400" dirty="0"/>
              <a:t> сотрудничает с </a:t>
            </a:r>
            <a:r>
              <a:rPr lang="en-US" sz="2400" dirty="0"/>
              <a:t> </a:t>
            </a:r>
            <a:r>
              <a:rPr lang="en-US" sz="2400" b="1" dirty="0"/>
              <a:t>Turnitin.com </a:t>
            </a:r>
            <a:r>
              <a:rPr lang="ru-RU" sz="2400" b="1" dirty="0"/>
              <a:t> </a:t>
            </a:r>
            <a:r>
              <a:rPr lang="ru-RU" sz="2400" dirty="0"/>
              <a:t>при проверке оригинальности полных текстов для защиты диссертаций</a:t>
            </a:r>
            <a:endParaRPr lang="en-US" sz="2400" dirty="0"/>
          </a:p>
          <a:p>
            <a:pPr lvl="1">
              <a:lnSpc>
                <a:spcPct val="90000"/>
              </a:lnSpc>
              <a:spcBef>
                <a:spcPct val="200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Полный текст проверяется и отмечается в случае повторений</a:t>
            </a:r>
            <a:endParaRPr lang="en-US" dirty="0"/>
          </a:p>
          <a:p>
            <a:pPr lvl="1">
              <a:lnSpc>
                <a:spcPct val="90000"/>
              </a:lnSpc>
              <a:spcBef>
                <a:spcPct val="2000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dirty="0"/>
              <a:t>Автор / университет информируется в случае нахождения повторений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0FF605-58D5-4444-9E6C-AF6894575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6DBEE-108B-C54B-A71F-0F1E32E2925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766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0">
            <a:extLst>
              <a:ext uri="{FF2B5EF4-FFF2-40B4-BE49-F238E27FC236}">
                <a16:creationId xmlns:a16="http://schemas.microsoft.com/office/drawing/2014/main" id="{34518DE0-7395-41B4-802C-F37D6415063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7516" y="3010493"/>
            <a:ext cx="5518485" cy="1978609"/>
          </a:xfrm>
          <a:prstGeom prst="rect">
            <a:avLst/>
          </a:prstGeom>
          <a:noFill/>
          <a:ln>
            <a:noFill/>
          </a:ln>
          <a:extLst/>
        </p:spPr>
        <p:txBody>
          <a:bodyPr tIns="9144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en-US" sz="2800" b="1" dirty="0" err="1" smtClean="0">
                <a:latin typeface="+mj-lt"/>
              </a:rPr>
              <a:t>Meinhard</a:t>
            </a:r>
            <a:r>
              <a:rPr lang="en-US" altLang="en-US" sz="2800" b="1" dirty="0" smtClean="0">
                <a:latin typeface="+mj-lt"/>
              </a:rPr>
              <a:t> </a:t>
            </a:r>
            <a:r>
              <a:rPr lang="en-US" altLang="en-US" sz="2800" b="1" dirty="0">
                <a:latin typeface="+mj-lt"/>
              </a:rPr>
              <a:t>Kettler</a:t>
            </a:r>
            <a:r>
              <a:rPr lang="ru-RU" altLang="en-US" sz="2800" b="1" dirty="0">
                <a:latin typeface="+mj-lt"/>
              </a:rPr>
              <a:t> – руководитель проекта «Международный контент»</a:t>
            </a:r>
            <a:r>
              <a:rPr lang="en-US" altLang="en-US" sz="2800" b="1" dirty="0">
                <a:latin typeface="+mj-lt"/>
              </a:rPr>
              <a:t> </a:t>
            </a:r>
            <a:r>
              <a:rPr lang="en-US" altLang="en-US" sz="2800" b="1" dirty="0">
                <a:latin typeface="+mj-lt"/>
                <a:hlinkClick r:id="rId2"/>
              </a:rPr>
              <a:t>meinhard.kettler@proquest.com</a:t>
            </a:r>
            <a:endParaRPr lang="en-US" altLang="en-US" sz="2800" b="1" dirty="0">
              <a:latin typeface="+mj-lt"/>
            </a:endParaRPr>
          </a:p>
          <a:p>
            <a:pPr>
              <a:spcAft>
                <a:spcPts val="600"/>
              </a:spcAft>
            </a:pPr>
            <a:endParaRPr lang="en-US" altLang="en-US" sz="1400" dirty="0">
              <a:latin typeface="+mj-lt"/>
            </a:endParaRPr>
          </a:p>
        </p:txBody>
      </p:sp>
      <p:sp>
        <p:nvSpPr>
          <p:cNvPr id="3" name="Title 4">
            <a:extLst>
              <a:ext uri="{FF2B5EF4-FFF2-40B4-BE49-F238E27FC236}">
                <a16:creationId xmlns:a16="http://schemas.microsoft.com/office/drawing/2014/main" id="{347858F5-609E-45EC-86B0-E0CDA5D12CFB}"/>
              </a:ext>
            </a:extLst>
          </p:cNvPr>
          <p:cNvSpPr txBox="1">
            <a:spLocks/>
          </p:cNvSpPr>
          <p:nvPr/>
        </p:nvSpPr>
        <p:spPr>
          <a:xfrm flipV="1">
            <a:off x="779796" y="2208652"/>
            <a:ext cx="10151167" cy="103197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dirty="0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39A63C6F-116E-4B45-8783-D2D1E0FAB2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13345" y="3010489"/>
            <a:ext cx="4898875" cy="1967657"/>
          </a:xfrm>
          <a:prstGeom prst="rect">
            <a:avLst/>
          </a:prstGeom>
          <a:noFill/>
          <a:ln>
            <a:noFill/>
          </a:ln>
          <a:extLst/>
        </p:spPr>
        <p:txBody>
          <a:bodyPr tIns="9144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Aft>
                <a:spcPts val="600"/>
              </a:spcAft>
            </a:pPr>
            <a:r>
              <a:rPr lang="ru-RU" altLang="en-US" sz="2800" b="1" dirty="0">
                <a:latin typeface="+mj-lt"/>
              </a:rPr>
              <a:t>Анна Трифонова – региональный </a:t>
            </a:r>
            <a:r>
              <a:rPr lang="ru-RU" altLang="en-US" sz="2800" b="1" dirty="0" smtClean="0">
                <a:latin typeface="+mj-lt"/>
              </a:rPr>
              <a:t>представитель</a:t>
            </a:r>
          </a:p>
          <a:p>
            <a:pPr>
              <a:spcAft>
                <a:spcPts val="600"/>
              </a:spcAft>
            </a:pPr>
            <a:r>
              <a:rPr lang="en-US" altLang="en-US" sz="2800" b="1" dirty="0" smtClean="0">
                <a:latin typeface="+mj-lt"/>
              </a:rPr>
              <a:t> </a:t>
            </a:r>
            <a:r>
              <a:rPr lang="en-GB" altLang="en-US" sz="2800" b="1" dirty="0">
                <a:latin typeface="+mj-lt"/>
                <a:hlinkClick r:id="rId3"/>
              </a:rPr>
              <a:t>anna.trifonova@proquest.com</a:t>
            </a:r>
            <a:endParaRPr lang="en-GB" altLang="en-US" sz="2800" b="1" dirty="0">
              <a:latin typeface="+mj-lt"/>
            </a:endParaRPr>
          </a:p>
          <a:p>
            <a:pPr>
              <a:spcAft>
                <a:spcPts val="600"/>
              </a:spcAft>
            </a:pPr>
            <a:endParaRPr lang="en-US" altLang="en-US" sz="2000" dirty="0">
              <a:latin typeface="+mj-lt"/>
            </a:endParaRPr>
          </a:p>
          <a:p>
            <a:pPr>
              <a:spcAft>
                <a:spcPts val="600"/>
              </a:spcAft>
            </a:pPr>
            <a:endParaRPr lang="en-US" altLang="en-US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30133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3314" name="Picture 2" descr="bg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1811" y="1268413"/>
            <a:ext cx="11459633" cy="522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52707" name="Picture 3" descr="konek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717" y="146050"/>
            <a:ext cx="26670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3316" name="Rectangle 4"/>
          <p:cNvSpPr>
            <a:spLocks noChangeArrowheads="1"/>
          </p:cNvSpPr>
          <p:nvPr/>
        </p:nvSpPr>
        <p:spPr bwMode="auto">
          <a:xfrm>
            <a:off x="1871133" y="2205042"/>
            <a:ext cx="9408584" cy="310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A50021"/>
                </a:solidFill>
                <a:ea typeface="Arial Unicode MS" pitchFamily="34" charset="-128"/>
                <a:cs typeface="Arial Unicode MS" pitchFamily="34" charset="-128"/>
              </a:rPr>
              <a:t>Еронина Елена Александровна,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A50021"/>
                </a:solidFill>
                <a:ea typeface="Arial Unicode MS" pitchFamily="34" charset="-128"/>
                <a:cs typeface="Arial Unicode MS" pitchFamily="34" charset="-128"/>
              </a:rPr>
              <a:t>ЗАО «КОНЭК»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+7 (495)  510  5520</a:t>
            </a:r>
            <a:endParaRPr lang="en-US" sz="2800" b="1" dirty="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err="1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www.konekbooks.ru</a:t>
            </a:r>
            <a:endParaRPr lang="ru-RU" sz="2800" b="1" dirty="0" smtClean="0">
              <a:solidFill>
                <a:srgbClr val="000066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 smtClean="0">
              <a:solidFill>
                <a:srgbClr val="000066"/>
              </a:solidFill>
              <a:ea typeface="Arial Unicode MS" pitchFamily="34" charset="-128"/>
              <a:cs typeface="Arial Unicode MS" pitchFamily="34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err="1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e</a:t>
            </a:r>
            <a:r>
              <a:rPr lang="en-US" sz="2800" b="1" dirty="0" err="1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ronina</a:t>
            </a:r>
            <a:r>
              <a:rPr lang="ru-RU" sz="2800" b="1" dirty="0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_</a:t>
            </a:r>
            <a:r>
              <a:rPr lang="en-US" sz="2800" b="1" dirty="0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e</a:t>
            </a:r>
            <a:r>
              <a:rPr lang="ru-RU" sz="2800" b="1" dirty="0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@</a:t>
            </a:r>
            <a:r>
              <a:rPr lang="en-US" sz="2800" b="1" dirty="0" err="1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konek</a:t>
            </a:r>
            <a:r>
              <a:rPr lang="ru-RU" sz="2800" b="1" dirty="0" err="1" smtClean="0">
                <a:solidFill>
                  <a:srgbClr val="000066"/>
                </a:solidFill>
                <a:ea typeface="Arial Unicode MS" pitchFamily="34" charset="-128"/>
                <a:cs typeface="Arial Unicode MS" pitchFamily="34" charset="-128"/>
              </a:rPr>
              <a:t>books.ru</a:t>
            </a:r>
            <a:endParaRPr lang="ru-RU" sz="2800" b="1" dirty="0" smtClean="0">
              <a:solidFill>
                <a:srgbClr val="000066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293317" name="Text Box 5"/>
          <p:cNvSpPr txBox="1">
            <a:spLocks noChangeArrowheads="1"/>
          </p:cNvSpPr>
          <p:nvPr/>
        </p:nvSpPr>
        <p:spPr bwMode="auto">
          <a:xfrm>
            <a:off x="2351632" y="1052513"/>
            <a:ext cx="854498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4" tIns="45712" rIns="91424" bIns="45712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smtClea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rPr>
              <a:t>СПАСИБО ЗА ВНИМАН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93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933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3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93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93316" grpId="0"/>
      <p:bldP spid="12933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1"/>
          <p:cNvSpPr>
            <a:spLocks noGrp="1"/>
          </p:cNvSpPr>
          <p:nvPr>
            <p:ph type="title"/>
          </p:nvPr>
        </p:nvSpPr>
        <p:spPr>
          <a:xfrm>
            <a:off x="203200" y="274638"/>
            <a:ext cx="9855200" cy="1143000"/>
          </a:xfrm>
        </p:spPr>
        <p:txBody>
          <a:bodyPr/>
          <a:lstStyle/>
          <a:p>
            <a:r>
              <a:rPr lang="ru-RU" altLang="ru-RU" sz="2800" b="1" dirty="0" smtClean="0">
                <a:solidFill>
                  <a:srgbClr val="C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Крупнейшая полнотекстовая база данных диссертаций</a:t>
            </a:r>
            <a:endParaRPr lang="en-IN" altLang="ru-RU" sz="2800" b="1" dirty="0" smtClean="0">
              <a:solidFill>
                <a:srgbClr val="C00000"/>
              </a:solidFill>
              <a:latin typeface="Arial" pitchFamily="34" charset="0"/>
              <a:ea typeface="ＭＳ Ｐゴシック" pitchFamily="34" charset="-128"/>
              <a:cs typeface="Arial" pitchFamily="34" charset="0"/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895351" y="1835150"/>
            <a:ext cx="5185833" cy="3889375"/>
            <a:chOff x="2240881" y="1696248"/>
            <a:chExt cx="4617011" cy="4617011"/>
          </a:xfrm>
        </p:grpSpPr>
        <p:sp>
          <p:nvSpPr>
            <p:cNvPr id="7" name="Oval 6"/>
            <p:cNvSpPr/>
            <p:nvPr/>
          </p:nvSpPr>
          <p:spPr>
            <a:xfrm>
              <a:off x="2240881" y="1696248"/>
              <a:ext cx="4617011" cy="4617011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txBody>
            <a:bodyPr anchor="b"/>
            <a:lstStyle/>
            <a:p>
              <a:pPr algn="ctr">
                <a:defRPr/>
              </a:pPr>
              <a:r>
                <a:rPr lang="en-IN" sz="1600">
                  <a:solidFill>
                    <a:prstClr val="white"/>
                  </a:solidFill>
                </a:rPr>
                <a:t>4.</a:t>
              </a:r>
              <a:r>
                <a:rPr lang="ru-RU" sz="1600">
                  <a:solidFill>
                    <a:prstClr val="white"/>
                  </a:solidFill>
                </a:rPr>
                <a:t>4млн  </a:t>
              </a:r>
              <a:r>
                <a:rPr lang="ru-RU" sz="1600" dirty="0">
                  <a:solidFill>
                    <a:prstClr val="white"/>
                  </a:solidFill>
                </a:rPr>
                <a:t>диссертаций</a:t>
              </a:r>
              <a:r>
                <a:rPr lang="en-IN" sz="1600" dirty="0">
                  <a:solidFill>
                    <a:prstClr val="white"/>
                  </a:solidFill>
                </a:rPr>
                <a:t> (A&amp;I)</a:t>
              </a:r>
            </a:p>
          </p:txBody>
        </p:sp>
        <p:sp>
          <p:nvSpPr>
            <p:cNvPr id="8" name="Oval 7"/>
            <p:cNvSpPr/>
            <p:nvPr/>
          </p:nvSpPr>
          <p:spPr>
            <a:xfrm>
              <a:off x="2872186" y="1724516"/>
              <a:ext cx="3399628" cy="3399628"/>
            </a:xfrm>
            <a:prstGeom prst="ellipse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</p:spPr>
          <p:txBody>
            <a:bodyPr anchor="ctr"/>
            <a:lstStyle/>
            <a:p>
              <a:pPr algn="ctr">
                <a:defRPr/>
              </a:pPr>
              <a:r>
                <a:rPr lang="en-IN" sz="1600" dirty="0" smtClean="0">
                  <a:solidFill>
                    <a:prstClr val="white"/>
                  </a:solidFill>
                </a:rPr>
                <a:t>2.0</a:t>
              </a:r>
              <a:r>
                <a:rPr lang="ru-RU" sz="1600" dirty="0" smtClean="0">
                  <a:solidFill>
                    <a:prstClr val="white"/>
                  </a:solidFill>
                </a:rPr>
                <a:t> </a:t>
              </a:r>
              <a:r>
                <a:rPr lang="ru-RU" sz="1600" dirty="0">
                  <a:solidFill>
                    <a:prstClr val="white"/>
                  </a:solidFill>
                </a:rPr>
                <a:t>млн. диссертаций</a:t>
              </a:r>
              <a:r>
                <a:rPr lang="en-IN" sz="1600" dirty="0">
                  <a:solidFill>
                    <a:prstClr val="white"/>
                  </a:solidFill>
                </a:rPr>
                <a:t> </a:t>
              </a:r>
              <a:r>
                <a:rPr lang="ru-RU" sz="1600" dirty="0">
                  <a:solidFill>
                    <a:prstClr val="white"/>
                  </a:solidFill>
                </a:rPr>
                <a:t>доступны в полном текст</a:t>
              </a:r>
              <a:r>
                <a:rPr lang="en-IN" sz="1600" dirty="0">
                  <a:solidFill>
                    <a:prstClr val="white"/>
                  </a:solidFill>
                </a:rPr>
                <a:t>e</a:t>
              </a:r>
              <a:r>
                <a:rPr lang="ru-RU" sz="1600" dirty="0">
                  <a:solidFill>
                    <a:prstClr val="white"/>
                  </a:solidFill>
                </a:rPr>
                <a:t> для загрузки в </a:t>
              </a:r>
              <a:r>
                <a:rPr lang="en-IN" sz="1600" dirty="0">
                  <a:solidFill>
                    <a:prstClr val="white"/>
                  </a:solidFill>
                </a:rPr>
                <a:t>t PDF</a:t>
              </a:r>
            </a:p>
          </p:txBody>
        </p:sp>
      </p:grpSp>
      <p:sp>
        <p:nvSpPr>
          <p:cNvPr id="9" name="Rounded Rectangle 8"/>
          <p:cNvSpPr/>
          <p:nvPr/>
        </p:nvSpPr>
        <p:spPr>
          <a:xfrm>
            <a:off x="1295400" y="6154763"/>
            <a:ext cx="9679517" cy="484187"/>
          </a:xfrm>
          <a:prstGeom prst="roundRect">
            <a:avLst>
              <a:gd name="adj" fmla="val 9167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dirty="0">
                <a:solidFill>
                  <a:prstClr val="white"/>
                </a:solidFill>
              </a:rPr>
              <a:t>Более </a:t>
            </a:r>
            <a:r>
              <a:rPr lang="en-US" sz="2000" dirty="0" smtClean="0">
                <a:solidFill>
                  <a:prstClr val="white"/>
                </a:solidFill>
              </a:rPr>
              <a:t>200</a:t>
            </a:r>
            <a:r>
              <a:rPr lang="ru-RU" sz="2000" dirty="0" smtClean="0">
                <a:solidFill>
                  <a:prstClr val="white"/>
                </a:solidFill>
              </a:rPr>
              <a:t> </a:t>
            </a:r>
            <a:r>
              <a:rPr lang="ru-RU" sz="2000" dirty="0">
                <a:solidFill>
                  <a:prstClr val="white"/>
                </a:solidFill>
              </a:rPr>
              <a:t>тыс. диссертаций добавляется ежегодно</a:t>
            </a:r>
            <a:endParaRPr lang="en-US" sz="2400" b="1" dirty="0">
              <a:solidFill>
                <a:prstClr val="white"/>
              </a:solidFill>
            </a:endParaRPr>
          </a:p>
        </p:txBody>
      </p:sp>
      <p:sp>
        <p:nvSpPr>
          <p:cNvPr id="46085" name="Title 1"/>
          <p:cNvSpPr txBox="1">
            <a:spLocks/>
          </p:cNvSpPr>
          <p:nvPr/>
        </p:nvSpPr>
        <p:spPr bwMode="auto">
          <a:xfrm>
            <a:off x="6340856" y="1835156"/>
            <a:ext cx="5851161" cy="375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97% 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диссертаций из США включены в базу</a:t>
            </a:r>
            <a:endParaRPr lang="en-IN" sz="2000" dirty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270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тыс. диссертаций из Канады</a:t>
            </a:r>
            <a:endParaRPr lang="en-IN" sz="2000" dirty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50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0 тыс.</a:t>
            </a: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диссертаций из Великобритании</a:t>
            </a: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150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тыс. диссертаций из КНР</a:t>
            </a:r>
            <a:endParaRPr lang="en-IN" sz="2000" dirty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Растущий охват диссертаций из Европы, Латинской Америки, Азии и Австралии</a:t>
            </a: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Диссертации из более </a:t>
            </a: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</a:t>
            </a:r>
            <a:r>
              <a:rPr lang="ru-RU" sz="2000" dirty="0" smtClean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88</a:t>
            </a:r>
            <a:r>
              <a:rPr lang="en-IN" sz="2000" dirty="0" smtClean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стран мира</a:t>
            </a: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Диссертации 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с </a:t>
            </a:r>
            <a:r>
              <a:rPr lang="en-IN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1861</a:t>
            </a:r>
            <a:r>
              <a:rPr lang="ru-RU" sz="2000" dirty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 г. по наст. </a:t>
            </a:r>
            <a:r>
              <a:rPr lang="ru-RU" sz="2000" dirty="0" smtClean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Время</a:t>
            </a:r>
            <a:endParaRPr lang="en-US" sz="2000" dirty="0" smtClean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leo Bold"/>
                <a:ea typeface="ＭＳ Ｐゴシック" pitchFamily="34" charset="-128"/>
              </a:rPr>
              <a:t>Более 3000 тыс. пользователей</a:t>
            </a:r>
            <a:endParaRPr lang="ru-RU" sz="2000" dirty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  <a:p>
            <a:pPr marL="171450" lvl="2" indent="-171450">
              <a:spcBef>
                <a:spcPts val="800"/>
              </a:spcBef>
              <a:buFont typeface="Arial" pitchFamily="34" charset="0"/>
              <a:buChar char="•"/>
            </a:pPr>
            <a:endParaRPr lang="en-IN" sz="1400" dirty="0">
              <a:solidFill>
                <a:prstClr val="black"/>
              </a:solidFill>
              <a:latin typeface="Aleo Bold"/>
              <a:ea typeface="ＭＳ Ｐゴシック" pitchFamily="34" charset="-128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7BC0F-78DA-4C5E-AA22-4B53E9D9D0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ссийские университеты используют</a:t>
            </a:r>
            <a:r>
              <a:rPr lang="en-GB" dirty="0"/>
              <a:t> PQDT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01835-3B33-4414-9906-346182A5D0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320" y="1203959"/>
            <a:ext cx="11917680" cy="4754880"/>
          </a:xfrm>
        </p:spPr>
        <p:txBody>
          <a:bodyPr/>
          <a:lstStyle/>
          <a:p>
            <a:pPr marL="0" indent="0">
              <a:buNone/>
            </a:pPr>
            <a:r>
              <a:rPr lang="ru-RU" sz="2500" b="1" dirty="0"/>
              <a:t>60 </a:t>
            </a:r>
            <a:r>
              <a:rPr lang="en-GB" sz="2500" b="1" dirty="0"/>
              <a:t> </a:t>
            </a:r>
            <a:r>
              <a:rPr lang="ru-RU" sz="2500" b="1" dirty="0"/>
              <a:t>текущих подписчиков </a:t>
            </a:r>
            <a:r>
              <a:rPr lang="en-GB" sz="2500" b="1" dirty="0"/>
              <a:t>c </a:t>
            </a:r>
            <a:r>
              <a:rPr lang="ru-RU" sz="2500" b="1" dirty="0"/>
              <a:t>апреля 2016 г. в рамках проекта национальной подписки  </a:t>
            </a:r>
            <a:endParaRPr lang="en-GB" sz="2500" b="1" dirty="0"/>
          </a:p>
          <a:p>
            <a:pPr lvl="1"/>
            <a:endParaRPr lang="en-GB" dirty="0"/>
          </a:p>
          <a:p>
            <a:pPr lvl="1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1E3E23-8A4E-40B5-BAD4-A9936FA45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6DBEE-108B-C54B-A71F-0F1E32E29253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AutoShape 2" descr="Image result for middle east technical university">
            <a:extLst>
              <a:ext uri="{FF2B5EF4-FFF2-40B4-BE49-F238E27FC236}">
                <a16:creationId xmlns:a16="http://schemas.microsoft.com/office/drawing/2014/main" id="{77F2FB28-8AD4-45A5-A903-AB90CCDB72E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149109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59DD732-3D67-47BB-98CA-A2D9ABF5E615}"/>
              </a:ext>
            </a:extLst>
          </p:cNvPr>
          <p:cNvSpPr txBox="1"/>
          <p:nvPr/>
        </p:nvSpPr>
        <p:spPr>
          <a:xfrm>
            <a:off x="4820679" y="3138731"/>
            <a:ext cx="10811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prstClr val="white"/>
                </a:solidFill>
              </a:rPr>
              <a:t>Most Searches</a:t>
            </a:r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28E95A2-94E4-4B1D-BF51-9FE8A323D9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7069397"/>
              </p:ext>
            </p:extLst>
          </p:nvPr>
        </p:nvGraphicFramePr>
        <p:xfrm>
          <a:off x="1128361" y="2021173"/>
          <a:ext cx="9427344" cy="4278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06351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01126D-88EB-4FE5-B07A-25BBEE009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solidFill>
                  <a:srgbClr val="C00000"/>
                </a:solidFill>
              </a:rPr>
              <a:t>Политематический охват</a:t>
            </a:r>
            <a:endParaRPr lang="en-US" sz="3200" b="1" dirty="0">
              <a:solidFill>
                <a:srgbClr val="C0000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B7AD7E-8118-422C-B30B-7EF5D94289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0051" y="1607743"/>
            <a:ext cx="5681212" cy="3852840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ProQuest Dissertations &amp; Theses Global </a:t>
            </a:r>
            <a:r>
              <a:rPr lang="ru-RU" dirty="0">
                <a:latin typeface="+mn-lt"/>
              </a:rPr>
              <a:t> - мультидисциплинарный ресурс</a:t>
            </a:r>
            <a:endParaRPr lang="en-US" dirty="0">
              <a:latin typeface="+mn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D502EB-99A4-4EFD-855D-EA559D4199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97693" y="1000096"/>
            <a:ext cx="3993623" cy="50681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tx2">
                <a:lumMod val="60000"/>
                <a:lumOff val="40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365090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8" y="133350"/>
            <a:ext cx="9158817" cy="1143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sz="2800" b="1" dirty="0">
                <a:solidFill>
                  <a:srgbClr val="C00000"/>
                </a:solidFill>
              </a:rPr>
              <a:t>ProQuest </a:t>
            </a:r>
            <a:r>
              <a:rPr lang="ru-RU" sz="2800" b="1" dirty="0">
                <a:solidFill>
                  <a:srgbClr val="C00000"/>
                </a:solidFill>
              </a:rPr>
              <a:t> </a:t>
            </a:r>
            <a:r>
              <a:rPr lang="en-GB" sz="2800" b="1" dirty="0">
                <a:solidFill>
                  <a:srgbClr val="C00000"/>
                </a:solidFill>
              </a:rPr>
              <a:t>Dissertations &amp; Theses Global </a:t>
            </a:r>
            <a:r>
              <a:rPr lang="ru-RU" sz="2800" b="1" dirty="0">
                <a:solidFill>
                  <a:srgbClr val="C00000"/>
                </a:solidFill>
              </a:rPr>
              <a:t>диссертации по тематике</a:t>
            </a:r>
            <a:endParaRPr lang="en-US" sz="2800" b="1" dirty="0">
              <a:solidFill>
                <a:srgbClr val="C00000"/>
              </a:solidFill>
            </a:endParaRPr>
          </a:p>
        </p:txBody>
      </p:sp>
      <p:pic>
        <p:nvPicPr>
          <p:cNvPr id="48131" name="Grafik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61520" y="1026946"/>
            <a:ext cx="9599671" cy="5568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95250"/>
            <a:ext cx="12039600" cy="109378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sz="2800" b="1" dirty="0">
                <a:solidFill>
                  <a:srgbClr val="C00000"/>
                </a:solidFill>
              </a:rPr>
              <a:t>ProQuest Dissertations &amp; Theses Global </a:t>
            </a:r>
            <a:r>
              <a:rPr lang="ru-RU" sz="2800" b="1" dirty="0">
                <a:solidFill>
                  <a:srgbClr val="C00000"/>
                </a:solidFill>
              </a:rPr>
              <a:t>использование</a:t>
            </a:r>
            <a:r>
              <a:rPr lang="en-GB" sz="2800" b="1" dirty="0">
                <a:solidFill>
                  <a:srgbClr val="C00000"/>
                </a:solidFill>
              </a:rPr>
              <a:t> </a:t>
            </a:r>
            <a:r>
              <a:rPr lang="ru-RU" sz="2800" b="1" dirty="0" smtClean="0">
                <a:solidFill>
                  <a:srgbClr val="C00000"/>
                </a:solidFill>
              </a:rPr>
              <a:t/>
            </a:r>
            <a:br>
              <a:rPr lang="ru-RU" sz="2800" b="1" dirty="0" smtClean="0">
                <a:solidFill>
                  <a:srgbClr val="C00000"/>
                </a:solidFill>
              </a:rPr>
            </a:br>
            <a:r>
              <a:rPr lang="ru-RU" sz="2800" b="1" dirty="0" smtClean="0">
                <a:solidFill>
                  <a:srgbClr val="C00000"/>
                </a:solidFill>
              </a:rPr>
              <a:t>в </a:t>
            </a:r>
            <a:r>
              <a:rPr lang="ru-RU" sz="2800" b="1" dirty="0">
                <a:solidFill>
                  <a:srgbClr val="C00000"/>
                </a:solidFill>
              </a:rPr>
              <a:t>мире </a:t>
            </a:r>
            <a:r>
              <a:rPr lang="ru-RU" sz="2800" b="1" dirty="0" smtClean="0">
                <a:solidFill>
                  <a:srgbClr val="C00000"/>
                </a:solidFill>
              </a:rPr>
              <a:t>диссертаций: </a:t>
            </a:r>
            <a:r>
              <a:rPr lang="en-GB" sz="2800" b="1" dirty="0" smtClean="0">
                <a:solidFill>
                  <a:srgbClr val="C00000"/>
                </a:solidFill>
              </a:rPr>
              <a:t>2014 </a:t>
            </a:r>
            <a:r>
              <a:rPr lang="en-GB" sz="2800" b="1" dirty="0">
                <a:solidFill>
                  <a:srgbClr val="C00000"/>
                </a:solidFill>
              </a:rPr>
              <a:t>– 2016</a:t>
            </a:r>
            <a:endParaRPr lang="en-US" sz="2800" b="1" dirty="0">
              <a:solidFill>
                <a:srgbClr val="C00000"/>
              </a:solidFill>
            </a:endParaRPr>
          </a:p>
        </p:txBody>
      </p:sp>
      <p:pic>
        <p:nvPicPr>
          <p:cNvPr id="50179" name="Grafik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800668" y="1189038"/>
            <a:ext cx="8342141" cy="566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3"/>
          <p:cNvPicPr>
            <a:picLocks noChangeAspect="1" noChangeArrowheads="1"/>
          </p:cNvPicPr>
          <p:nvPr/>
        </p:nvPicPr>
        <p:blipFill>
          <a:blip r:embed="rId2"/>
          <a:srcRect l="31738" r="8154"/>
          <a:stretch>
            <a:fillRect/>
          </a:stretch>
        </p:blipFill>
        <p:spPr bwMode="auto">
          <a:xfrm>
            <a:off x="7120469" y="1347788"/>
            <a:ext cx="4402667" cy="392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615952" y="1301750"/>
            <a:ext cx="6305549" cy="742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cs typeface="Arial" pitchFamily="34" charset="0"/>
              </a:rPr>
              <a:t>Идея для исследования</a:t>
            </a:r>
            <a:r>
              <a:rPr lang="en-IN" sz="1400" b="1" dirty="0">
                <a:solidFill>
                  <a:prstClr val="black"/>
                </a:solidFill>
                <a:cs typeface="Arial" pitchFamily="34" charset="0"/>
              </a:rPr>
              <a:t>: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Позволяет проверить, насколько изучена избранная тема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?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Есть ли малоизученные области для новых исследований?</a:t>
            </a: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20198" y="1301750"/>
            <a:ext cx="61383" cy="74295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lIns="182880" tIns="91440" bIns="9144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5952" y="2120900"/>
            <a:ext cx="6305549" cy="742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cs typeface="Arial" pitchFamily="34" charset="0"/>
              </a:rPr>
              <a:t>Обзор источников</a:t>
            </a:r>
            <a:r>
              <a:rPr lang="en-IN" sz="1400" b="1" dirty="0">
                <a:solidFill>
                  <a:prstClr val="black"/>
                </a:solidFill>
                <a:cs typeface="Arial" pitchFamily="34" charset="0"/>
              </a:rPr>
              <a:t>: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Диссертации включают обширный список литературы по теме исследования</a:t>
            </a: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0198" y="2120921"/>
            <a:ext cx="61383" cy="741363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lIns="182880" tIns="91440" bIns="9144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15952" y="2938463"/>
            <a:ext cx="6305549" cy="742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cs typeface="Arial" pitchFamily="34" charset="0"/>
              </a:rPr>
              <a:t>Масштабность</a:t>
            </a:r>
            <a:r>
              <a:rPr lang="en-IN" sz="1400" b="1" dirty="0">
                <a:solidFill>
                  <a:prstClr val="black"/>
                </a:solidFill>
                <a:cs typeface="Arial" pitchFamily="34" charset="0"/>
              </a:rPr>
              <a:t>: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диссертации значительно объемнее и детальнее , чем журнальные статьи</a:t>
            </a: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0198" y="2938463"/>
            <a:ext cx="61383" cy="741362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lIns="182880" tIns="91440" bIns="9144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15952" y="3757613"/>
            <a:ext cx="6305549" cy="742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cs typeface="Arial" pitchFamily="34" charset="0"/>
              </a:rPr>
              <a:t>Уникальный контент: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некоторые диссертации (напр., по искусству или истории) могут единственными источниками по теме</a:t>
            </a: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20198" y="3756025"/>
            <a:ext cx="61383" cy="742950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lIns="182880" tIns="91440" bIns="9144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15952" y="4575175"/>
            <a:ext cx="6305549" cy="742950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cs typeface="Arial" pitchFamily="34" charset="0"/>
              </a:rPr>
              <a:t>Форматирование идей</a:t>
            </a:r>
            <a:r>
              <a:rPr lang="en-IN" sz="1400" b="1" dirty="0">
                <a:solidFill>
                  <a:prstClr val="black"/>
                </a:solidFill>
                <a:cs typeface="Arial" pitchFamily="34" charset="0"/>
              </a:rPr>
              <a:t>:</a:t>
            </a:r>
            <a:r>
              <a:rPr lang="en-IN" sz="14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cs typeface="Arial" pitchFamily="34" charset="0"/>
              </a:rPr>
              <a:t>Как оформить аннотацию? Как правильно </a:t>
            </a:r>
            <a:r>
              <a:rPr lang="ru-RU" sz="1400">
                <a:solidFill>
                  <a:prstClr val="black"/>
                </a:solidFill>
                <a:cs typeface="Arial" pitchFamily="34" charset="0"/>
              </a:rPr>
              <a:t>структурировать диссертацию?</a:t>
            </a: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20198" y="4575196"/>
            <a:ext cx="61383" cy="741363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3"/>
            </a:solidFill>
          </a:ln>
        </p:spPr>
        <p:txBody>
          <a:bodyPr lIns="182880" tIns="91440" bIns="9144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061200" y="1301750"/>
            <a:ext cx="4521200" cy="401478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txBody>
          <a:bodyPr lIns="274320" tIns="91440" bIns="91440" anchor="ctr"/>
          <a:lstStyle/>
          <a:p>
            <a:pPr marL="0" lvl="2" defTabSz="457200" fontAlgn="base">
              <a:spcBef>
                <a:spcPts val="600"/>
              </a:spcBef>
              <a:spcAft>
                <a:spcPct val="0"/>
              </a:spcAft>
              <a:defRPr/>
            </a:pPr>
            <a:endParaRPr lang="en-IN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9470" name="Title 3"/>
          <p:cNvSpPr>
            <a:spLocks noGrp="1"/>
          </p:cNvSpPr>
          <p:nvPr>
            <p:ph type="title"/>
          </p:nvPr>
        </p:nvSpPr>
        <p:spPr>
          <a:xfrm>
            <a:off x="406400" y="152400"/>
            <a:ext cx="11176000" cy="10668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altLang="en-US" sz="3200" b="1" dirty="0">
                <a:solidFill>
                  <a:srgbClr val="C00000"/>
                </a:solidFill>
              </a:rPr>
              <a:t>Ценность и важность диссертаций для ученых </a:t>
            </a:r>
            <a:endParaRPr lang="en-IN" altLang="en-US" sz="3200" b="1" dirty="0">
              <a:solidFill>
                <a:srgbClr val="C00000"/>
              </a:solidFill>
            </a:endParaRPr>
          </a:p>
        </p:txBody>
      </p:sp>
      <p:sp>
        <p:nvSpPr>
          <p:cNvPr id="10" name="Isosceles Triangle 9"/>
          <p:cNvSpPr/>
          <p:nvPr/>
        </p:nvSpPr>
        <p:spPr>
          <a:xfrm rot="5400000">
            <a:off x="681567" y="1565285"/>
            <a:ext cx="215900" cy="215900"/>
          </a:xfrm>
          <a:prstGeom prst="triangle">
            <a:avLst/>
          </a:prstGeom>
          <a:solidFill>
            <a:schemeClr val="accent3"/>
          </a:solidFill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IN" sz="1200" dirty="0" err="1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4" name="Isosceles Triangle 13"/>
          <p:cNvSpPr/>
          <p:nvPr/>
        </p:nvSpPr>
        <p:spPr>
          <a:xfrm rot="5400000">
            <a:off x="681567" y="2384435"/>
            <a:ext cx="215900" cy="215900"/>
          </a:xfrm>
          <a:prstGeom prst="triangle">
            <a:avLst/>
          </a:prstGeom>
          <a:solidFill>
            <a:schemeClr val="accent3"/>
          </a:solidFill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IN" sz="1200" dirty="0" err="1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8" name="Isosceles Triangle 17"/>
          <p:cNvSpPr/>
          <p:nvPr/>
        </p:nvSpPr>
        <p:spPr>
          <a:xfrm rot="5400000">
            <a:off x="681567" y="3201998"/>
            <a:ext cx="215900" cy="215900"/>
          </a:xfrm>
          <a:prstGeom prst="triangle">
            <a:avLst/>
          </a:prstGeom>
          <a:solidFill>
            <a:schemeClr val="accent3"/>
          </a:solidFill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IN" sz="1200" dirty="0" err="1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2" name="Isosceles Triangle 21"/>
          <p:cNvSpPr/>
          <p:nvPr/>
        </p:nvSpPr>
        <p:spPr>
          <a:xfrm rot="5400000">
            <a:off x="681567" y="4021138"/>
            <a:ext cx="215900" cy="215900"/>
          </a:xfrm>
          <a:prstGeom prst="triangle">
            <a:avLst/>
          </a:prstGeom>
          <a:solidFill>
            <a:schemeClr val="accent3"/>
          </a:solidFill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IN" sz="1200" dirty="0" err="1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26" name="Isosceles Triangle 25"/>
          <p:cNvSpPr/>
          <p:nvPr/>
        </p:nvSpPr>
        <p:spPr>
          <a:xfrm rot="5400000">
            <a:off x="681567" y="4838710"/>
            <a:ext cx="215900" cy="215900"/>
          </a:xfrm>
          <a:prstGeom prst="triangle">
            <a:avLst/>
          </a:prstGeom>
          <a:solidFill>
            <a:schemeClr val="accent3"/>
          </a:solidFill>
        </p:spPr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IN" sz="1200" dirty="0" err="1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39956" name="Slide Number Placeholder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154584" y="6592909"/>
            <a:ext cx="2844800" cy="255587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defTabSz="457200" eaLnBrk="0" fontAlgn="base" hangingPunct="0">
              <a:spcBef>
                <a:spcPct val="0"/>
              </a:spcBef>
              <a:spcAft>
                <a:spcPct val="0"/>
              </a:spcAft>
            </a:pPr>
            <a:fld id="{FFD6ED61-F6A0-43A1-BEB2-675EFF2BFB12}" type="slidenum">
              <a:rPr lang="en-US" altLang="en-US" sz="800" smtClean="0">
                <a:solidFill>
                  <a:srgbClr val="000000"/>
                </a:solidFill>
                <a:ea typeface="ＭＳ Ｐゴシック" pitchFamily="34" charset="-128"/>
                <a:cs typeface="Arial" pitchFamily="34" charset="0"/>
              </a:rPr>
              <a:pPr defTabSz="457200" eaLnBrk="0" fontAlgn="base" hangingPunct="0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 sz="800" smtClean="0">
              <a:solidFill>
                <a:srgbClr val="000000"/>
              </a:solidFill>
              <a:ea typeface="ＭＳ Ｐゴシック" pitchFamily="34" charset="-128"/>
              <a:cs typeface="Arial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07C959-4177-4C1A-A32B-5A3BB4BD6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5" y="2407111"/>
            <a:ext cx="12190268" cy="1661993"/>
          </a:xfrm>
        </p:spPr>
        <p:txBody>
          <a:bodyPr/>
          <a:lstStyle/>
          <a:p>
            <a:r>
              <a:rPr lang="ru-RU" sz="3600" b="1" dirty="0"/>
              <a:t>Онлайн публикация  диссертаций с </a:t>
            </a:r>
            <a:br>
              <a:rPr lang="ru-RU" sz="3600" b="1" dirty="0"/>
            </a:br>
            <a:r>
              <a:rPr lang="en-US" sz="3600" b="1" dirty="0"/>
              <a:t>ProQuest Dissertations &amp; Theses Global</a:t>
            </a:r>
          </a:p>
        </p:txBody>
      </p:sp>
    </p:spTree>
    <p:extLst>
      <p:ext uri="{BB962C8B-B14F-4D97-AF65-F5344CB8AC3E}">
        <p14:creationId xmlns:p14="http://schemas.microsoft.com/office/powerpoint/2010/main" val="3744416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8_Office Theme">
  <a:themeElements>
    <a:clrScheme name="ProQuest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E31837"/>
      </a:accent1>
      <a:accent2>
        <a:srgbClr val="F37321"/>
      </a:accent2>
      <a:accent3>
        <a:srgbClr val="009DDC"/>
      </a:accent3>
      <a:accent4>
        <a:srgbClr val="A3A510"/>
      </a:accent4>
      <a:accent5>
        <a:srgbClr val="00A18E"/>
      </a:accent5>
      <a:accent6>
        <a:srgbClr val="60C5BA"/>
      </a:accent6>
      <a:hlink>
        <a:srgbClr val="009DDC"/>
      </a:hlink>
      <a:folHlink>
        <a:srgbClr val="72CDF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altLang="ru-RU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altLang="ru-RU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4_standard-brand-template">
  <a:themeElements>
    <a:clrScheme name="Custom 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91935"/>
      </a:accent1>
      <a:accent2>
        <a:srgbClr val="24A3A0"/>
      </a:accent2>
      <a:accent3>
        <a:srgbClr val="A9B309"/>
      </a:accent3>
      <a:accent4>
        <a:srgbClr val="5444B9"/>
      </a:accent4>
      <a:accent5>
        <a:srgbClr val="148ED7"/>
      </a:accent5>
      <a:accent6>
        <a:srgbClr val="329D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Roboto Regular"/>
            <a:cs typeface="Roboto Regular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 cmpd="sng">
          <a:solidFill>
            <a:schemeClr val="bg1">
              <a:lumMod val="50000"/>
            </a:schemeClr>
          </a:solidFill>
          <a:headEnd type="none"/>
          <a:tailEnd type="triangle"/>
        </a:ln>
        <a:effectLst/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5_standard-brand-template">
  <a:themeElements>
    <a:clrScheme name="Custom 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91935"/>
      </a:accent1>
      <a:accent2>
        <a:srgbClr val="24A3A0"/>
      </a:accent2>
      <a:accent3>
        <a:srgbClr val="A9B309"/>
      </a:accent3>
      <a:accent4>
        <a:srgbClr val="5444B9"/>
      </a:accent4>
      <a:accent5>
        <a:srgbClr val="148ED7"/>
      </a:accent5>
      <a:accent6>
        <a:srgbClr val="329D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Roboto Regular"/>
            <a:cs typeface="Roboto Regular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 cmpd="sng">
          <a:solidFill>
            <a:schemeClr val="bg1">
              <a:lumMod val="50000"/>
            </a:schemeClr>
          </a:solidFill>
          <a:headEnd type="none"/>
          <a:tailEnd type="triangle"/>
        </a:ln>
        <a:effectLst/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tandard-brand-template">
  <a:themeElements>
    <a:clrScheme name="Custom 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91935"/>
      </a:accent1>
      <a:accent2>
        <a:srgbClr val="24A3A0"/>
      </a:accent2>
      <a:accent3>
        <a:srgbClr val="A9B309"/>
      </a:accent3>
      <a:accent4>
        <a:srgbClr val="5444B9"/>
      </a:accent4>
      <a:accent5>
        <a:srgbClr val="148ED7"/>
      </a:accent5>
      <a:accent6>
        <a:srgbClr val="329D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Roboto Regular"/>
            <a:cs typeface="Roboto Regular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 cmpd="sng">
          <a:solidFill>
            <a:schemeClr val="bg1">
              <a:lumMod val="50000"/>
            </a:schemeClr>
          </a:solidFill>
          <a:headEnd type="none"/>
          <a:tailEnd type="triangle"/>
        </a:ln>
        <a:effectLst/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standard-brand-template">
  <a:themeElements>
    <a:clrScheme name="Custom 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91935"/>
      </a:accent1>
      <a:accent2>
        <a:srgbClr val="24A3A0"/>
      </a:accent2>
      <a:accent3>
        <a:srgbClr val="A9B309"/>
      </a:accent3>
      <a:accent4>
        <a:srgbClr val="5444B9"/>
      </a:accent4>
      <a:accent5>
        <a:srgbClr val="148ED7"/>
      </a:accent5>
      <a:accent6>
        <a:srgbClr val="329D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Roboto Regular"/>
            <a:cs typeface="Roboto Regular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 cmpd="sng">
          <a:solidFill>
            <a:schemeClr val="bg1">
              <a:lumMod val="50000"/>
            </a:schemeClr>
          </a:solidFill>
          <a:headEnd type="none"/>
          <a:tailEnd type="triangle"/>
        </a:ln>
        <a:effectLst/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8_Оформление по умолчанию">
  <a:themeElements>
    <a:clrScheme name="8_Оформление по умолчанию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8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standard-brand-template">
  <a:themeElements>
    <a:clrScheme name="Custom 1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D91935"/>
      </a:accent1>
      <a:accent2>
        <a:srgbClr val="24A3A0"/>
      </a:accent2>
      <a:accent3>
        <a:srgbClr val="A9B309"/>
      </a:accent3>
      <a:accent4>
        <a:srgbClr val="5444B9"/>
      </a:accent4>
      <a:accent5>
        <a:srgbClr val="148ED7"/>
      </a:accent5>
      <a:accent6>
        <a:srgbClr val="329D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Roboto Regular"/>
            <a:cs typeface="Roboto Regular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57150" cmpd="sng">
          <a:solidFill>
            <a:schemeClr val="bg1">
              <a:lumMod val="50000"/>
            </a:schemeClr>
          </a:solidFill>
          <a:headEnd type="none"/>
          <a:tailEnd type="triangle"/>
        </a:ln>
        <a:effectLst/>
      </a:spPr>
      <a:bodyPr/>
      <a:lstStyle/>
      <a:style>
        <a:lnRef idx="3">
          <a:schemeClr val="accent1"/>
        </a:lnRef>
        <a:fillRef idx="0">
          <a:schemeClr val="accent1"/>
        </a:fillRef>
        <a:effectRef idx="2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altLang="ru-RU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altLang="ru-RU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4F143357D7F840B5DC50D06ED8C7EA" ma:contentTypeVersion="6" ma:contentTypeDescription="Create a new document." ma:contentTypeScope="" ma:versionID="941f35609e6de81a3283df6a817a41dc">
  <xsd:schema xmlns:xsd="http://www.w3.org/2001/XMLSchema" xmlns:xs="http://www.w3.org/2001/XMLSchema" xmlns:p="http://schemas.microsoft.com/office/2006/metadata/properties" xmlns:ns1="http://schemas.microsoft.com/sharepoint/v3" xmlns:ns2="137cdf36-ba27-4b38-910a-7bd9ffb267d3" xmlns:ns3="48e219ed-2414-4113-9c81-fb41745d97b9" targetNamespace="http://schemas.microsoft.com/office/2006/metadata/properties" ma:root="true" ma:fieldsID="f296f96b46f48553ebae06ff55a19906" ns1:_="" ns2:_="" ns3:_="">
    <xsd:import namespace="http://schemas.microsoft.com/sharepoint/v3"/>
    <xsd:import namespace="137cdf36-ba27-4b38-910a-7bd9ffb267d3"/>
    <xsd:import namespace="48e219ed-2414-4113-9c81-fb41745d97b9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2:SharingHintHash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7cdf36-ba27-4b38-910a-7bd9ffb267d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219ed-2414-4113-9c81-fb41745d97b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58EFE67-69BA-46EE-B3A3-EE61C5E57BF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37cdf36-ba27-4b38-910a-7bd9ffb267d3"/>
    <ds:schemaRef ds:uri="48e219ed-2414-4113-9c81-fb41745d97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E9DC158-ECB8-4D9E-B70F-1EE14FCF574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98FB6BE-460F-462D-B004-DA4EA4C63F83}">
  <ds:schemaRefs>
    <ds:schemaRef ds:uri="48e219ed-2414-4113-9c81-fb41745d97b9"/>
    <ds:schemaRef ds:uri="http://schemas.microsoft.com/office/infopath/2007/PartnerControls"/>
    <ds:schemaRef ds:uri="http://purl.org/dc/dcmitype/"/>
    <ds:schemaRef ds:uri="http://schemas.openxmlformats.org/package/2006/metadata/core-properties"/>
    <ds:schemaRef ds:uri="http://purl.org/dc/terms/"/>
    <ds:schemaRef ds:uri="http://schemas.microsoft.com/sharepoint/v3"/>
    <ds:schemaRef ds:uri="http://schemas.microsoft.com/office/2006/documentManagement/types"/>
    <ds:schemaRef ds:uri="137cdf36-ba27-4b38-910a-7bd9ffb267d3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528</TotalTime>
  <Words>821</Words>
  <Application>Microsoft Office PowerPoint</Application>
  <PresentationFormat>Широкоэкранный</PresentationFormat>
  <Paragraphs>143</Paragraphs>
  <Slides>29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1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61" baseType="lpstr">
      <vt:lpstr>MS PGothic</vt:lpstr>
      <vt:lpstr>MS PGothic</vt:lpstr>
      <vt:lpstr>SimSun</vt:lpstr>
      <vt:lpstr>Aleo Bold</vt:lpstr>
      <vt:lpstr>Aleo Regular</vt:lpstr>
      <vt:lpstr>Arial</vt:lpstr>
      <vt:lpstr>Arial Unicode MS</vt:lpstr>
      <vt:lpstr>Calibri</vt:lpstr>
      <vt:lpstr>Calibri Light</vt:lpstr>
      <vt:lpstr>Georgia</vt:lpstr>
      <vt:lpstr>Open Sans Light</vt:lpstr>
      <vt:lpstr>Open Sans Semibold</vt:lpstr>
      <vt:lpstr>Times New Roman</vt:lpstr>
      <vt:lpstr>Wingdings</vt:lpstr>
      <vt:lpstr>Office Theme</vt:lpstr>
      <vt:lpstr>1_standard-brand-template</vt:lpstr>
      <vt:lpstr>standard-brand-template</vt:lpstr>
      <vt:lpstr>1_Office Theme</vt:lpstr>
      <vt:lpstr>2_Office Theme</vt:lpstr>
      <vt:lpstr>8_Оформление по умолчанию</vt:lpstr>
      <vt:lpstr>2_standard-brand-template</vt:lpstr>
      <vt:lpstr>4_Office Theme</vt:lpstr>
      <vt:lpstr>2_Оформление по умолчанию</vt:lpstr>
      <vt:lpstr>5_Office Theme</vt:lpstr>
      <vt:lpstr>6_Office Theme</vt:lpstr>
      <vt:lpstr>3_Office Theme</vt:lpstr>
      <vt:lpstr>7_Office Theme</vt:lpstr>
      <vt:lpstr>8_Office Theme</vt:lpstr>
      <vt:lpstr>3_Оформление по умолчанию</vt:lpstr>
      <vt:lpstr>4_standard-brand-template</vt:lpstr>
      <vt:lpstr>5_standard-brand-template</vt:lpstr>
      <vt:lpstr>think-cell Slide</vt:lpstr>
      <vt:lpstr>ProQuest Dissertations &amp; Theses Global and Dissertation Publishing </vt:lpstr>
      <vt:lpstr>Презентация PowerPoint</vt:lpstr>
      <vt:lpstr>Крупнейшая полнотекстовая база данных диссертаций</vt:lpstr>
      <vt:lpstr>Российские университеты используют PQDT</vt:lpstr>
      <vt:lpstr>Политематический охват</vt:lpstr>
      <vt:lpstr>ProQuest  Dissertations &amp; Theses Global диссертации по тематике</vt:lpstr>
      <vt:lpstr>ProQuest Dissertations &amp; Theses Global использование  в мире диссертаций: 2014 – 2016</vt:lpstr>
      <vt:lpstr>Ценность и важность диссертаций для ученых </vt:lpstr>
      <vt:lpstr>Онлайн публикация  диссертаций с  ProQuest Dissertations &amp; Theses Global</vt:lpstr>
      <vt:lpstr>ProQuest уверен в важности диссертаций, как формы научной коммуникации</vt:lpstr>
      <vt:lpstr>Ведущие университеты мира размещают диссертации в ProQuest</vt:lpstr>
      <vt:lpstr>PQDT Global : новый «Европейский» контент</vt:lpstr>
      <vt:lpstr>Презентация PowerPoint</vt:lpstr>
      <vt:lpstr>Условия размещения диссертации в  ProQuest?</vt:lpstr>
      <vt:lpstr>Презентация PowerPoint</vt:lpstr>
      <vt:lpstr>Презентация PowerPoint</vt:lpstr>
      <vt:lpstr>Презентация PowerPoint</vt:lpstr>
      <vt:lpstr>Простой процесс  размещения диссертаций в ProQuest </vt:lpstr>
      <vt:lpstr>Как разместить диссертацию в ProQuest  через – ETD  Administrator</vt:lpstr>
      <vt:lpstr>ETD Administrator</vt:lpstr>
      <vt:lpstr>Редакторы ProQuest обеспечивают раскрытие контента</vt:lpstr>
      <vt:lpstr>Условия размещения диссертации в  ProQuest?</vt:lpstr>
      <vt:lpstr>Технологии</vt:lpstr>
      <vt:lpstr>Презентация PowerPoint</vt:lpstr>
      <vt:lpstr>Для чего  размещать диссертацию  в PQDT?</vt:lpstr>
      <vt:lpstr>Отражение в Google Scholar</vt:lpstr>
      <vt:lpstr>ProQuest помогает защитить права автора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Ермилова Диана Борисовна</cp:lastModifiedBy>
  <cp:revision>247</cp:revision>
  <cp:lastPrinted>2017-07-10T16:22:00Z</cp:lastPrinted>
  <dcterms:created xsi:type="dcterms:W3CDTF">2017-04-26T17:29:17Z</dcterms:created>
  <dcterms:modified xsi:type="dcterms:W3CDTF">2017-12-14T07:5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4F143357D7F840B5DC50D06ED8C7EA</vt:lpwstr>
  </property>
</Properties>
</file>